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256" r:id="rId2"/>
    <p:sldId id="257" r:id="rId3"/>
    <p:sldId id="258" r:id="rId4"/>
    <p:sldId id="277" r:id="rId5"/>
    <p:sldId id="276" r:id="rId6"/>
    <p:sldId id="275" r:id="rId7"/>
    <p:sldId id="272" r:id="rId8"/>
    <p:sldId id="271" r:id="rId9"/>
    <p:sldId id="4774" r:id="rId10"/>
    <p:sldId id="274" r:id="rId11"/>
    <p:sldId id="273" r:id="rId12"/>
    <p:sldId id="2147470229" r:id="rId13"/>
    <p:sldId id="2147470398" r:id="rId14"/>
    <p:sldId id="5408" r:id="rId15"/>
    <p:sldId id="2147470400" r:id="rId16"/>
    <p:sldId id="2147470399" r:id="rId17"/>
    <p:sldId id="2147470397" r:id="rId18"/>
    <p:sldId id="266" r:id="rId19"/>
    <p:sldId id="267" r:id="rId20"/>
    <p:sldId id="5458" r:id="rId21"/>
    <p:sldId id="5520" r:id="rId22"/>
    <p:sldId id="262" r:id="rId23"/>
    <p:sldId id="5518" r:id="rId24"/>
    <p:sldId id="259" r:id="rId25"/>
    <p:sldId id="5519" r:id="rId26"/>
    <p:sldId id="279" r:id="rId27"/>
    <p:sldId id="278" r:id="rId28"/>
    <p:sldId id="2147470401" r:id="rId29"/>
    <p:sldId id="2147470402" r:id="rId30"/>
    <p:sldId id="2147470403" r:id="rId31"/>
    <p:sldId id="280"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A4E358-3854-442B-AAC2-1A834E6A9EBE}" v="101" dt="2024-06-20T04:33:14.1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93447" autoAdjust="0"/>
  </p:normalViewPr>
  <p:slideViewPr>
    <p:cSldViewPr snapToGrid="0">
      <p:cViewPr varScale="1">
        <p:scale>
          <a:sx n="59" d="100"/>
          <a:sy n="59" d="100"/>
        </p:scale>
        <p:origin x="964" y="56"/>
      </p:cViewPr>
      <p:guideLst/>
    </p:cSldViewPr>
  </p:slideViewPr>
  <p:outlineViewPr>
    <p:cViewPr>
      <p:scale>
        <a:sx n="33" d="100"/>
        <a:sy n="33" d="100"/>
      </p:scale>
      <p:origin x="0" y="-720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reya Srivastava" userId="ae82a41d27ee62d3" providerId="LiveId" clId="{2CA4E358-3854-442B-AAC2-1A834E6A9EBE}"/>
    <pc:docChg chg="undo redo custSel addSld delSld modSld sldOrd modMainMaster">
      <pc:chgData name="Shreya Srivastava" userId="ae82a41d27ee62d3" providerId="LiveId" clId="{2CA4E358-3854-442B-AAC2-1A834E6A9EBE}" dt="2024-07-21T14:34:20.396" v="5569" actId="14100"/>
      <pc:docMkLst>
        <pc:docMk/>
      </pc:docMkLst>
      <pc:sldChg chg="addSp modSp mod">
        <pc:chgData name="Shreya Srivastava" userId="ae82a41d27ee62d3" providerId="LiveId" clId="{2CA4E358-3854-442B-AAC2-1A834E6A9EBE}" dt="2024-06-19T18:52:00.101" v="4581" actId="12788"/>
        <pc:sldMkLst>
          <pc:docMk/>
          <pc:sldMk cId="374770327" sldId="257"/>
        </pc:sldMkLst>
        <pc:spChg chg="mod">
          <ac:chgData name="Shreya Srivastava" userId="ae82a41d27ee62d3" providerId="LiveId" clId="{2CA4E358-3854-442B-AAC2-1A834E6A9EBE}" dt="2024-06-19T18:51:54.045" v="4579" actId="1076"/>
          <ac:spMkLst>
            <pc:docMk/>
            <pc:sldMk cId="374770327" sldId="257"/>
            <ac:spMk id="2" creationId="{2D580B80-845D-8349-5D64-4988D9790439}"/>
          </ac:spMkLst>
        </pc:spChg>
        <pc:picChg chg="add mod">
          <ac:chgData name="Shreya Srivastava" userId="ae82a41d27ee62d3" providerId="LiveId" clId="{2CA4E358-3854-442B-AAC2-1A834E6A9EBE}" dt="2024-06-19T18:52:00.101" v="4581" actId="12788"/>
          <ac:picMkLst>
            <pc:docMk/>
            <pc:sldMk cId="374770327" sldId="257"/>
            <ac:picMk id="4" creationId="{4D758837-623A-DCF9-3E56-2CA1D103906A}"/>
          </ac:picMkLst>
        </pc:picChg>
      </pc:sldChg>
      <pc:sldChg chg="modSp mod modNotesTx">
        <pc:chgData name="Shreya Srivastava" userId="ae82a41d27ee62d3" providerId="LiveId" clId="{2CA4E358-3854-442B-AAC2-1A834E6A9EBE}" dt="2024-06-19T21:16:04.163" v="5257" actId="6549"/>
        <pc:sldMkLst>
          <pc:docMk/>
          <pc:sldMk cId="1963799934" sldId="258"/>
        </pc:sldMkLst>
        <pc:picChg chg="mod">
          <ac:chgData name="Shreya Srivastava" userId="ae82a41d27ee62d3" providerId="LiveId" clId="{2CA4E358-3854-442B-AAC2-1A834E6A9EBE}" dt="2024-06-19T19:01:32.295" v="4599" actId="14100"/>
          <ac:picMkLst>
            <pc:docMk/>
            <pc:sldMk cId="1963799934" sldId="258"/>
            <ac:picMk id="5" creationId="{BCD66D36-0520-3C8E-E78E-ED20BFF4087E}"/>
          </ac:picMkLst>
        </pc:picChg>
      </pc:sldChg>
      <pc:sldChg chg="del">
        <pc:chgData name="Shreya Srivastava" userId="ae82a41d27ee62d3" providerId="LiveId" clId="{2CA4E358-3854-442B-AAC2-1A834E6A9EBE}" dt="2024-06-19T06:19:13.071" v="653" actId="47"/>
        <pc:sldMkLst>
          <pc:docMk/>
          <pc:sldMk cId="4218929727" sldId="260"/>
        </pc:sldMkLst>
      </pc:sldChg>
      <pc:sldChg chg="del">
        <pc:chgData name="Shreya Srivastava" userId="ae82a41d27ee62d3" providerId="LiveId" clId="{2CA4E358-3854-442B-AAC2-1A834E6A9EBE}" dt="2024-06-19T06:19:10.387" v="652" actId="47"/>
        <pc:sldMkLst>
          <pc:docMk/>
          <pc:sldMk cId="1015483133" sldId="261"/>
        </pc:sldMkLst>
      </pc:sldChg>
      <pc:sldChg chg="addSp delSp modSp mod">
        <pc:chgData name="Shreya Srivastava" userId="ae82a41d27ee62d3" providerId="LiveId" clId="{2CA4E358-3854-442B-AAC2-1A834E6A9EBE}" dt="2024-06-20T04:35:35.628" v="5567" actId="20577"/>
        <pc:sldMkLst>
          <pc:docMk/>
          <pc:sldMk cId="2547477447" sldId="262"/>
        </pc:sldMkLst>
        <pc:spChg chg="mod">
          <ac:chgData name="Shreya Srivastava" userId="ae82a41d27ee62d3" providerId="LiveId" clId="{2CA4E358-3854-442B-AAC2-1A834E6A9EBE}" dt="2024-06-19T05:53:41.770" v="391" actId="14100"/>
          <ac:spMkLst>
            <pc:docMk/>
            <pc:sldMk cId="2547477447" sldId="262"/>
            <ac:spMk id="2" creationId="{D4A68402-6BFC-0424-872C-AFC54FE16ABA}"/>
          </ac:spMkLst>
        </pc:spChg>
        <pc:spChg chg="mod">
          <ac:chgData name="Shreya Srivastava" userId="ae82a41d27ee62d3" providerId="LiveId" clId="{2CA4E358-3854-442B-AAC2-1A834E6A9EBE}" dt="2024-06-20T04:35:35.628" v="5567" actId="20577"/>
          <ac:spMkLst>
            <pc:docMk/>
            <pc:sldMk cId="2547477447" sldId="262"/>
            <ac:spMk id="3" creationId="{668CCFE9-1E72-12EA-4F00-BE735149310F}"/>
          </ac:spMkLst>
        </pc:spChg>
        <pc:picChg chg="add del mod">
          <ac:chgData name="Shreya Srivastava" userId="ae82a41d27ee62d3" providerId="LiveId" clId="{2CA4E358-3854-442B-AAC2-1A834E6A9EBE}" dt="2024-06-19T10:06:09.485" v="3056" actId="478"/>
          <ac:picMkLst>
            <pc:docMk/>
            <pc:sldMk cId="2547477447" sldId="262"/>
            <ac:picMk id="4" creationId="{B33638D7-8116-AA68-052B-949F565972C1}"/>
          </ac:picMkLst>
        </pc:picChg>
        <pc:picChg chg="add del mod">
          <ac:chgData name="Shreya Srivastava" userId="ae82a41d27ee62d3" providerId="LiveId" clId="{2CA4E358-3854-442B-AAC2-1A834E6A9EBE}" dt="2024-06-19T10:06:10.649" v="3057" actId="478"/>
          <ac:picMkLst>
            <pc:docMk/>
            <pc:sldMk cId="2547477447" sldId="262"/>
            <ac:picMk id="5" creationId="{DC39A0FB-5E06-54B9-F539-5D9A56F7A5AE}"/>
          </ac:picMkLst>
        </pc:picChg>
      </pc:sldChg>
      <pc:sldChg chg="del">
        <pc:chgData name="Shreya Srivastava" userId="ae82a41d27ee62d3" providerId="LiveId" clId="{2CA4E358-3854-442B-AAC2-1A834E6A9EBE}" dt="2024-06-19T10:37:15.643" v="3184" actId="47"/>
        <pc:sldMkLst>
          <pc:docMk/>
          <pc:sldMk cId="316261162" sldId="263"/>
        </pc:sldMkLst>
      </pc:sldChg>
      <pc:sldChg chg="del">
        <pc:chgData name="Shreya Srivastava" userId="ae82a41d27ee62d3" providerId="LiveId" clId="{2CA4E358-3854-442B-AAC2-1A834E6A9EBE}" dt="2024-06-19T10:37:13.882" v="3183" actId="47"/>
        <pc:sldMkLst>
          <pc:docMk/>
          <pc:sldMk cId="20440620" sldId="264"/>
        </pc:sldMkLst>
      </pc:sldChg>
      <pc:sldChg chg="del">
        <pc:chgData name="Shreya Srivastava" userId="ae82a41d27ee62d3" providerId="LiveId" clId="{2CA4E358-3854-442B-AAC2-1A834E6A9EBE}" dt="2024-06-19T10:37:11.571" v="3182" actId="47"/>
        <pc:sldMkLst>
          <pc:docMk/>
          <pc:sldMk cId="1851123078" sldId="265"/>
        </pc:sldMkLst>
      </pc:sldChg>
      <pc:sldChg chg="addSp delSp modSp mod ord modClrScheme chgLayout">
        <pc:chgData name="Shreya Srivastava" userId="ae82a41d27ee62d3" providerId="LiveId" clId="{2CA4E358-3854-442B-AAC2-1A834E6A9EBE}" dt="2024-06-19T20:58:42.284" v="4804"/>
        <pc:sldMkLst>
          <pc:docMk/>
          <pc:sldMk cId="91221883" sldId="266"/>
        </pc:sldMkLst>
        <pc:spChg chg="del">
          <ac:chgData name="Shreya Srivastava" userId="ae82a41d27ee62d3" providerId="LiveId" clId="{2CA4E358-3854-442B-AAC2-1A834E6A9EBE}" dt="2024-06-19T09:53:42.674" v="2939" actId="700"/>
          <ac:spMkLst>
            <pc:docMk/>
            <pc:sldMk cId="91221883" sldId="266"/>
            <ac:spMk id="2" creationId="{26AFF45D-9076-020C-1CD9-12C871216D6C}"/>
          </ac:spMkLst>
        </pc:spChg>
        <pc:spChg chg="del">
          <ac:chgData name="Shreya Srivastava" userId="ae82a41d27ee62d3" providerId="LiveId" clId="{2CA4E358-3854-442B-AAC2-1A834E6A9EBE}" dt="2024-06-19T09:53:42.674" v="2939" actId="700"/>
          <ac:spMkLst>
            <pc:docMk/>
            <pc:sldMk cId="91221883" sldId="266"/>
            <ac:spMk id="3" creationId="{3163CF91-9B2B-B9DD-12B4-944DBB73F21D}"/>
          </ac:spMkLst>
        </pc:spChg>
        <pc:spChg chg="mod">
          <ac:chgData name="Shreya Srivastava" userId="ae82a41d27ee62d3" providerId="LiveId" clId="{2CA4E358-3854-442B-AAC2-1A834E6A9EBE}" dt="2024-06-19T09:53:43.651" v="2940"/>
          <ac:spMkLst>
            <pc:docMk/>
            <pc:sldMk cId="91221883" sldId="266"/>
            <ac:spMk id="24" creationId="{7109C86C-3530-4F60-9076-A3C7796C0506}"/>
          </ac:spMkLst>
        </pc:spChg>
        <pc:spChg chg="mod">
          <ac:chgData name="Shreya Srivastava" userId="ae82a41d27ee62d3" providerId="LiveId" clId="{2CA4E358-3854-442B-AAC2-1A834E6A9EBE}" dt="2024-06-19T09:53:43.651" v="2940"/>
          <ac:spMkLst>
            <pc:docMk/>
            <pc:sldMk cId="91221883" sldId="266"/>
            <ac:spMk id="25" creationId="{9F361626-3B4F-41ED-AE0D-99CA1C5DEC90}"/>
          </ac:spMkLst>
        </pc:spChg>
        <pc:spChg chg="mod">
          <ac:chgData name="Shreya Srivastava" userId="ae82a41d27ee62d3" providerId="LiveId" clId="{2CA4E358-3854-442B-AAC2-1A834E6A9EBE}" dt="2024-06-19T10:15:08.077" v="3122" actId="1076"/>
          <ac:spMkLst>
            <pc:docMk/>
            <pc:sldMk cId="91221883" sldId="266"/>
            <ac:spMk id="26" creationId="{050725C8-BEFC-4A37-BEA9-A9DBFB667ED0}"/>
          </ac:spMkLst>
        </pc:spChg>
        <pc:grpChg chg="add mod">
          <ac:chgData name="Shreya Srivastava" userId="ae82a41d27ee62d3" providerId="LiveId" clId="{2CA4E358-3854-442B-AAC2-1A834E6A9EBE}" dt="2024-06-19T10:14:50.940" v="3120" actId="14100"/>
          <ac:grpSpMkLst>
            <pc:docMk/>
            <pc:sldMk cId="91221883" sldId="266"/>
            <ac:grpSpMk id="4" creationId="{F891ED1B-73C5-F8BA-9F27-E00023FE2A75}"/>
          </ac:grpSpMkLst>
        </pc:grpChg>
        <pc:picChg chg="add mod">
          <ac:chgData name="Shreya Srivastava" userId="ae82a41d27ee62d3" providerId="LiveId" clId="{2CA4E358-3854-442B-AAC2-1A834E6A9EBE}" dt="2024-06-19T10:15:11.939" v="3123" actId="1076"/>
          <ac:picMkLst>
            <pc:docMk/>
            <pc:sldMk cId="91221883" sldId="266"/>
            <ac:picMk id="5" creationId="{CEB8F281-4D11-A8CC-3C7B-39C33FBDE03E}"/>
          </ac:picMkLst>
        </pc:picChg>
        <pc:picChg chg="add del">
          <ac:chgData name="Shreya Srivastava" userId="ae82a41d27ee62d3" providerId="LiveId" clId="{2CA4E358-3854-442B-AAC2-1A834E6A9EBE}" dt="2024-06-19T09:59:01.388" v="2960" actId="478"/>
          <ac:picMkLst>
            <pc:docMk/>
            <pc:sldMk cId="91221883" sldId="266"/>
            <ac:picMk id="2050" creationId="{6947B402-C705-836A-EF53-BE16F51A1A24}"/>
          </ac:picMkLst>
        </pc:picChg>
      </pc:sldChg>
      <pc:sldChg chg="addSp delSp modSp mod modClrScheme chgLayout">
        <pc:chgData name="Shreya Srivastava" userId="ae82a41d27ee62d3" providerId="LiveId" clId="{2CA4E358-3854-442B-AAC2-1A834E6A9EBE}" dt="2024-06-20T04:33:24.471" v="5359" actId="313"/>
        <pc:sldMkLst>
          <pc:docMk/>
          <pc:sldMk cId="2830553617" sldId="267"/>
        </pc:sldMkLst>
        <pc:spChg chg="del">
          <ac:chgData name="Shreya Srivastava" userId="ae82a41d27ee62d3" providerId="LiveId" clId="{2CA4E358-3854-442B-AAC2-1A834E6A9EBE}" dt="2024-06-19T09:51:01.979" v="2913" actId="700"/>
          <ac:spMkLst>
            <pc:docMk/>
            <pc:sldMk cId="2830553617" sldId="267"/>
            <ac:spMk id="2" creationId="{6D9E3DED-6D48-D7E1-9B17-82D5F3EC535F}"/>
          </ac:spMkLst>
        </pc:spChg>
        <pc:spChg chg="del">
          <ac:chgData name="Shreya Srivastava" userId="ae82a41d27ee62d3" providerId="LiveId" clId="{2CA4E358-3854-442B-AAC2-1A834E6A9EBE}" dt="2024-06-19T09:51:01.979" v="2913" actId="700"/>
          <ac:spMkLst>
            <pc:docMk/>
            <pc:sldMk cId="2830553617" sldId="267"/>
            <ac:spMk id="3" creationId="{645CBC16-0654-55F4-B0BE-2F006383EE1E}"/>
          </ac:spMkLst>
        </pc:spChg>
        <pc:spChg chg="mod">
          <ac:chgData name="Shreya Srivastava" userId="ae82a41d27ee62d3" providerId="LiveId" clId="{2CA4E358-3854-442B-AAC2-1A834E6A9EBE}" dt="2024-06-19T09:51:03.186" v="2914"/>
          <ac:spMkLst>
            <pc:docMk/>
            <pc:sldMk cId="2830553617" sldId="267"/>
            <ac:spMk id="5" creationId="{61B18BE4-7455-FEF5-9DF5-0B933FE78431}"/>
          </ac:spMkLst>
        </pc:spChg>
        <pc:spChg chg="mod">
          <ac:chgData name="Shreya Srivastava" userId="ae82a41d27ee62d3" providerId="LiveId" clId="{2CA4E358-3854-442B-AAC2-1A834E6A9EBE}" dt="2024-06-20T04:33:24.471" v="5359" actId="313"/>
          <ac:spMkLst>
            <pc:docMk/>
            <pc:sldMk cId="2830553617" sldId="267"/>
            <ac:spMk id="6" creationId="{351258C3-49D0-0E44-7C77-9A41B1FA5D72}"/>
          </ac:spMkLst>
        </pc:spChg>
        <pc:spChg chg="mod">
          <ac:chgData name="Shreya Srivastava" userId="ae82a41d27ee62d3" providerId="LiveId" clId="{2CA4E358-3854-442B-AAC2-1A834E6A9EBE}" dt="2024-06-19T10:04:34.148" v="3053" actId="20577"/>
          <ac:spMkLst>
            <pc:docMk/>
            <pc:sldMk cId="2830553617" sldId="267"/>
            <ac:spMk id="7" creationId="{80F0BECF-0553-7C29-E989-9687031005CC}"/>
          </ac:spMkLst>
        </pc:spChg>
        <pc:grpChg chg="add mod">
          <ac:chgData name="Shreya Srivastava" userId="ae82a41d27ee62d3" providerId="LiveId" clId="{2CA4E358-3854-442B-AAC2-1A834E6A9EBE}" dt="2024-06-19T10:04:51.142" v="3055" actId="14100"/>
          <ac:grpSpMkLst>
            <pc:docMk/>
            <pc:sldMk cId="2830553617" sldId="267"/>
            <ac:grpSpMk id="4" creationId="{A21EC77B-4CE7-A28D-4BAA-87BEECD735D4}"/>
          </ac:grpSpMkLst>
        </pc:grpChg>
        <pc:graphicFrameChg chg="add mod">
          <ac:chgData name="Shreya Srivastava" userId="ae82a41d27ee62d3" providerId="LiveId" clId="{2CA4E358-3854-442B-AAC2-1A834E6A9EBE}" dt="2024-06-20T04:33:14.086" v="5356"/>
          <ac:graphicFrameMkLst>
            <pc:docMk/>
            <pc:sldMk cId="2830553617" sldId="267"/>
            <ac:graphicFrameMk id="2" creationId="{364D43D7-B41F-7623-370F-8C461BC1048E}"/>
          </ac:graphicFrameMkLst>
        </pc:graphicFrameChg>
        <pc:picChg chg="add mod">
          <ac:chgData name="Shreya Srivastava" userId="ae82a41d27ee62d3" providerId="LiveId" clId="{2CA4E358-3854-442B-AAC2-1A834E6A9EBE}" dt="2024-06-20T04:33:20.854" v="5358" actId="1076"/>
          <ac:picMkLst>
            <pc:docMk/>
            <pc:sldMk cId="2830553617" sldId="267"/>
            <ac:picMk id="3" creationId="{96C0AC51-D624-BF69-00AF-74DD2E61477E}"/>
          </ac:picMkLst>
        </pc:picChg>
        <pc:picChg chg="add mod">
          <ac:chgData name="Shreya Srivastava" userId="ae82a41d27ee62d3" providerId="LiveId" clId="{2CA4E358-3854-442B-AAC2-1A834E6A9EBE}" dt="2024-06-19T10:27:55.326" v="3128" actId="1076"/>
          <ac:picMkLst>
            <pc:docMk/>
            <pc:sldMk cId="2830553617" sldId="267"/>
            <ac:picMk id="8" creationId="{095A68D6-FA4C-37AB-325B-A9F18C04DCC9}"/>
          </ac:picMkLst>
        </pc:picChg>
        <pc:picChg chg="add del mod">
          <ac:chgData name="Shreya Srivastava" userId="ae82a41d27ee62d3" providerId="LiveId" clId="{2CA4E358-3854-442B-AAC2-1A834E6A9EBE}" dt="2024-06-20T04:33:07.580" v="5351" actId="478"/>
          <ac:picMkLst>
            <pc:docMk/>
            <pc:sldMk cId="2830553617" sldId="267"/>
            <ac:picMk id="9" creationId="{B4AE3F1D-30B5-4DF2-F481-F47E51425F3E}"/>
          </ac:picMkLst>
        </pc:picChg>
      </pc:sldChg>
      <pc:sldChg chg="del">
        <pc:chgData name="Shreya Srivastava" userId="ae82a41d27ee62d3" providerId="LiveId" clId="{2CA4E358-3854-442B-AAC2-1A834E6A9EBE}" dt="2024-06-19T10:54:36.773" v="3948" actId="47"/>
        <pc:sldMkLst>
          <pc:docMk/>
          <pc:sldMk cId="796544907" sldId="268"/>
        </pc:sldMkLst>
      </pc:sldChg>
      <pc:sldChg chg="addSp delSp modSp del mod modClrScheme chgLayout">
        <pc:chgData name="Shreya Srivastava" userId="ae82a41d27ee62d3" providerId="LiveId" clId="{2CA4E358-3854-442B-AAC2-1A834E6A9EBE}" dt="2024-06-19T10:54:33.499" v="3947" actId="47"/>
        <pc:sldMkLst>
          <pc:docMk/>
          <pc:sldMk cId="4230892407" sldId="269"/>
        </pc:sldMkLst>
        <pc:spChg chg="mod ord">
          <ac:chgData name="Shreya Srivastava" userId="ae82a41d27ee62d3" providerId="LiveId" clId="{2CA4E358-3854-442B-AAC2-1A834E6A9EBE}" dt="2024-06-19T10:36:09.317" v="3155" actId="1076"/>
          <ac:spMkLst>
            <pc:docMk/>
            <pc:sldMk cId="4230892407" sldId="269"/>
            <ac:spMk id="2" creationId="{9331644A-64B2-A383-2618-45BD171DC788}"/>
          </ac:spMkLst>
        </pc:spChg>
        <pc:spChg chg="del">
          <ac:chgData name="Shreya Srivastava" userId="ae82a41d27ee62d3" providerId="LiveId" clId="{2CA4E358-3854-442B-AAC2-1A834E6A9EBE}" dt="2024-06-19T10:35:50.762" v="3153" actId="700"/>
          <ac:spMkLst>
            <pc:docMk/>
            <pc:sldMk cId="4230892407" sldId="269"/>
            <ac:spMk id="3" creationId="{E8402C77-3F22-746F-CA1E-A6445168CD99}"/>
          </ac:spMkLst>
        </pc:spChg>
        <pc:spChg chg="add del mod">
          <ac:chgData name="Shreya Srivastava" userId="ae82a41d27ee62d3" providerId="LiveId" clId="{2CA4E358-3854-442B-AAC2-1A834E6A9EBE}" dt="2024-06-19T10:40:35.559" v="3204" actId="478"/>
          <ac:spMkLst>
            <pc:docMk/>
            <pc:sldMk cId="4230892407" sldId="269"/>
            <ac:spMk id="4" creationId="{B0F163F7-D9F9-869E-792A-F769ED01FC2B}"/>
          </ac:spMkLst>
        </pc:spChg>
        <pc:spChg chg="add del mod">
          <ac:chgData name="Shreya Srivastava" userId="ae82a41d27ee62d3" providerId="LiveId" clId="{2CA4E358-3854-442B-AAC2-1A834E6A9EBE}" dt="2024-06-19T10:40:08.511" v="3192" actId="478"/>
          <ac:spMkLst>
            <pc:docMk/>
            <pc:sldMk cId="4230892407" sldId="269"/>
            <ac:spMk id="5" creationId="{C1C98FE4-B4D8-B15F-907C-394F55449BB0}"/>
          </ac:spMkLst>
        </pc:spChg>
        <pc:spChg chg="add del mod">
          <ac:chgData name="Shreya Srivastava" userId="ae82a41d27ee62d3" providerId="LiveId" clId="{2CA4E358-3854-442B-AAC2-1A834E6A9EBE}" dt="2024-06-19T10:40:10.008" v="3193" actId="478"/>
          <ac:spMkLst>
            <pc:docMk/>
            <pc:sldMk cId="4230892407" sldId="269"/>
            <ac:spMk id="6" creationId="{D1F8386F-3AFC-89DF-C460-A1B166920359}"/>
          </ac:spMkLst>
        </pc:spChg>
        <pc:spChg chg="add del mod">
          <ac:chgData name="Shreya Srivastava" userId="ae82a41d27ee62d3" providerId="LiveId" clId="{2CA4E358-3854-442B-AAC2-1A834E6A9EBE}" dt="2024-06-19T10:40:11.800" v="3194" actId="478"/>
          <ac:spMkLst>
            <pc:docMk/>
            <pc:sldMk cId="4230892407" sldId="269"/>
            <ac:spMk id="7" creationId="{95D79FFE-EB34-05D5-B818-4AF7079D44B7}"/>
          </ac:spMkLst>
        </pc:spChg>
        <pc:spChg chg="add mod">
          <ac:chgData name="Shreya Srivastava" userId="ae82a41d27ee62d3" providerId="LiveId" clId="{2CA4E358-3854-442B-AAC2-1A834E6A9EBE}" dt="2024-06-19T10:36:52.233" v="3174" actId="20577"/>
          <ac:spMkLst>
            <pc:docMk/>
            <pc:sldMk cId="4230892407" sldId="269"/>
            <ac:spMk id="8" creationId="{B66B7A26-D466-15DC-C917-9F086B9BB45D}"/>
          </ac:spMkLst>
        </pc:spChg>
        <pc:spChg chg="add mod">
          <ac:chgData name="Shreya Srivastava" userId="ae82a41d27ee62d3" providerId="LiveId" clId="{2CA4E358-3854-442B-AAC2-1A834E6A9EBE}" dt="2024-06-19T10:37:03.776" v="3181" actId="20577"/>
          <ac:spMkLst>
            <pc:docMk/>
            <pc:sldMk cId="4230892407" sldId="269"/>
            <ac:spMk id="9" creationId="{214CD01E-CD7B-BDE9-47EF-D9BB25CA6CA7}"/>
          </ac:spMkLst>
        </pc:spChg>
        <pc:spChg chg="add del mod">
          <ac:chgData name="Shreya Srivastava" userId="ae82a41d27ee62d3" providerId="LiveId" clId="{2CA4E358-3854-442B-AAC2-1A834E6A9EBE}" dt="2024-06-19T10:40:33.400" v="3203" actId="478"/>
          <ac:spMkLst>
            <pc:docMk/>
            <pc:sldMk cId="4230892407" sldId="269"/>
            <ac:spMk id="10" creationId="{C5A9475A-FC27-22C8-9222-F19E21494F9E}"/>
          </ac:spMkLst>
        </pc:spChg>
        <pc:spChg chg="add del mod">
          <ac:chgData name="Shreya Srivastava" userId="ae82a41d27ee62d3" providerId="LiveId" clId="{2CA4E358-3854-442B-AAC2-1A834E6A9EBE}" dt="2024-06-19T10:40:29.064" v="3201" actId="478"/>
          <ac:spMkLst>
            <pc:docMk/>
            <pc:sldMk cId="4230892407" sldId="269"/>
            <ac:spMk id="11" creationId="{EDA8411C-291F-C349-67A7-662F0B5B1BA5}"/>
          </ac:spMkLst>
        </pc:spChg>
        <pc:spChg chg="add del mod">
          <ac:chgData name="Shreya Srivastava" userId="ae82a41d27ee62d3" providerId="LiveId" clId="{2CA4E358-3854-442B-AAC2-1A834E6A9EBE}" dt="2024-06-19T10:40:31.529" v="3202" actId="478"/>
          <ac:spMkLst>
            <pc:docMk/>
            <pc:sldMk cId="4230892407" sldId="269"/>
            <ac:spMk id="12" creationId="{569994D0-3D5D-32B3-584B-6EE544B35BE1}"/>
          </ac:spMkLst>
        </pc:spChg>
      </pc:sldChg>
      <pc:sldChg chg="addSp delSp modSp del mod">
        <pc:chgData name="Shreya Srivastava" userId="ae82a41d27ee62d3" providerId="LiveId" clId="{2CA4E358-3854-442B-AAC2-1A834E6A9EBE}" dt="2024-06-19T11:14:35.966" v="4245" actId="47"/>
        <pc:sldMkLst>
          <pc:docMk/>
          <pc:sldMk cId="3478412436" sldId="270"/>
        </pc:sldMkLst>
        <pc:spChg chg="del">
          <ac:chgData name="Shreya Srivastava" userId="ae82a41d27ee62d3" providerId="LiveId" clId="{2CA4E358-3854-442B-AAC2-1A834E6A9EBE}" dt="2024-06-19T11:04:35.507" v="4062" actId="478"/>
          <ac:spMkLst>
            <pc:docMk/>
            <pc:sldMk cId="3478412436" sldId="270"/>
            <ac:spMk id="2" creationId="{F6564C11-614D-DF79-A238-2BB87D5488D7}"/>
          </ac:spMkLst>
        </pc:spChg>
        <pc:spChg chg="mod">
          <ac:chgData name="Shreya Srivastava" userId="ae82a41d27ee62d3" providerId="LiveId" clId="{2CA4E358-3854-442B-AAC2-1A834E6A9EBE}" dt="2024-06-19T10:59:01.334" v="4029" actId="20577"/>
          <ac:spMkLst>
            <pc:docMk/>
            <pc:sldMk cId="3478412436" sldId="270"/>
            <ac:spMk id="3" creationId="{6DA69A92-A5BE-7A27-6E49-94AE0E4208BB}"/>
          </ac:spMkLst>
        </pc:spChg>
        <pc:spChg chg="add del mod">
          <ac:chgData name="Shreya Srivastava" userId="ae82a41d27ee62d3" providerId="LiveId" clId="{2CA4E358-3854-442B-AAC2-1A834E6A9EBE}" dt="2024-06-19T11:04:41.145" v="4063" actId="478"/>
          <ac:spMkLst>
            <pc:docMk/>
            <pc:sldMk cId="3478412436" sldId="270"/>
            <ac:spMk id="5" creationId="{BFDC7FCE-9C4C-AC37-6AC0-E85E1EF5DFF7}"/>
          </ac:spMkLst>
        </pc:spChg>
      </pc:sldChg>
      <pc:sldChg chg="ord">
        <pc:chgData name="Shreya Srivastava" userId="ae82a41d27ee62d3" providerId="LiveId" clId="{2CA4E358-3854-442B-AAC2-1A834E6A9EBE}" dt="2024-06-19T05:14:49.094" v="369"/>
        <pc:sldMkLst>
          <pc:docMk/>
          <pc:sldMk cId="1620374823" sldId="271"/>
        </pc:sldMkLst>
      </pc:sldChg>
      <pc:sldChg chg="ord">
        <pc:chgData name="Shreya Srivastava" userId="ae82a41d27ee62d3" providerId="LiveId" clId="{2CA4E358-3854-442B-AAC2-1A834E6A9EBE}" dt="2024-06-19T05:14:46.895" v="367"/>
        <pc:sldMkLst>
          <pc:docMk/>
          <pc:sldMk cId="199219205" sldId="272"/>
        </pc:sldMkLst>
      </pc:sldChg>
      <pc:sldChg chg="addSp delSp mod ord">
        <pc:chgData name="Shreya Srivastava" userId="ae82a41d27ee62d3" providerId="LiveId" clId="{2CA4E358-3854-442B-AAC2-1A834E6A9EBE}" dt="2024-06-19T08:35:03.400" v="1612"/>
        <pc:sldMkLst>
          <pc:docMk/>
          <pc:sldMk cId="4001832047" sldId="273"/>
        </pc:sldMkLst>
        <pc:spChg chg="del">
          <ac:chgData name="Shreya Srivastava" userId="ae82a41d27ee62d3" providerId="LiveId" clId="{2CA4E358-3854-442B-AAC2-1A834E6A9EBE}" dt="2024-06-19T07:18:01.379" v="1610" actId="478"/>
          <ac:spMkLst>
            <pc:docMk/>
            <pc:sldMk cId="4001832047" sldId="273"/>
            <ac:spMk id="5" creationId="{20A77B2C-82BE-93F0-0AC7-D6432BC05535}"/>
          </ac:spMkLst>
        </pc:spChg>
        <pc:picChg chg="add">
          <ac:chgData name="Shreya Srivastava" userId="ae82a41d27ee62d3" providerId="LiveId" clId="{2CA4E358-3854-442B-AAC2-1A834E6A9EBE}" dt="2024-06-19T08:35:03.400" v="1612"/>
          <ac:picMkLst>
            <pc:docMk/>
            <pc:sldMk cId="4001832047" sldId="273"/>
            <ac:picMk id="2" creationId="{1DB632E0-9AFE-B7EA-89E4-F54046C0E0EF}"/>
          </ac:picMkLst>
        </pc:picChg>
        <pc:picChg chg="del">
          <ac:chgData name="Shreya Srivastava" userId="ae82a41d27ee62d3" providerId="LiveId" clId="{2CA4E358-3854-442B-AAC2-1A834E6A9EBE}" dt="2024-06-19T08:34:46.900" v="1611" actId="478"/>
          <ac:picMkLst>
            <pc:docMk/>
            <pc:sldMk cId="4001832047" sldId="273"/>
            <ac:picMk id="4" creationId="{3B8B71B5-1BCF-E6FA-12AD-4793434C5FC8}"/>
          </ac:picMkLst>
        </pc:picChg>
      </pc:sldChg>
      <pc:sldChg chg="modSp mod ord">
        <pc:chgData name="Shreya Srivastava" userId="ae82a41d27ee62d3" providerId="LiveId" clId="{2CA4E358-3854-442B-AAC2-1A834E6A9EBE}" dt="2024-06-19T09:26:07.035" v="2676" actId="20577"/>
        <pc:sldMkLst>
          <pc:docMk/>
          <pc:sldMk cId="3786174066" sldId="274"/>
        </pc:sldMkLst>
        <pc:spChg chg="mod">
          <ac:chgData name="Shreya Srivastava" userId="ae82a41d27ee62d3" providerId="LiveId" clId="{2CA4E358-3854-442B-AAC2-1A834E6A9EBE}" dt="2024-06-19T09:26:07.035" v="2676" actId="20577"/>
          <ac:spMkLst>
            <pc:docMk/>
            <pc:sldMk cId="3786174066" sldId="274"/>
            <ac:spMk id="6" creationId="{87D01EF5-2B19-9ACD-C106-E2E9BD7113E2}"/>
          </ac:spMkLst>
        </pc:spChg>
      </pc:sldChg>
      <pc:sldChg chg="addSp delSp modSp mod modNotesTx">
        <pc:chgData name="Shreya Srivastava" userId="ae82a41d27ee62d3" providerId="LiveId" clId="{2CA4E358-3854-442B-AAC2-1A834E6A9EBE}" dt="2024-06-19T06:03:35.040" v="630"/>
        <pc:sldMkLst>
          <pc:docMk/>
          <pc:sldMk cId="4189480846" sldId="275"/>
        </pc:sldMkLst>
        <pc:spChg chg="add mod">
          <ac:chgData name="Shreya Srivastava" userId="ae82a41d27ee62d3" providerId="LiveId" clId="{2CA4E358-3854-442B-AAC2-1A834E6A9EBE}" dt="2024-06-19T05:12:11.443" v="356" actId="1076"/>
          <ac:spMkLst>
            <pc:docMk/>
            <pc:sldMk cId="4189480846" sldId="275"/>
            <ac:spMk id="2" creationId="{8D3A0ECD-574D-5161-AADC-14DC849A1F0B}"/>
          </ac:spMkLst>
        </pc:spChg>
        <pc:picChg chg="add mod">
          <ac:chgData name="Shreya Srivastava" userId="ae82a41d27ee62d3" providerId="LiveId" clId="{2CA4E358-3854-442B-AAC2-1A834E6A9EBE}" dt="2024-06-19T05:12:20.939" v="357" actId="14100"/>
          <ac:picMkLst>
            <pc:docMk/>
            <pc:sldMk cId="4189480846" sldId="275"/>
            <ac:picMk id="3" creationId="{B9F20B3D-5700-1344-61F5-F757923420CF}"/>
          </ac:picMkLst>
        </pc:picChg>
        <pc:picChg chg="add del mod">
          <ac:chgData name="Shreya Srivastava" userId="ae82a41d27ee62d3" providerId="LiveId" clId="{2CA4E358-3854-442B-AAC2-1A834E6A9EBE}" dt="2024-06-19T05:07:55.642" v="349" actId="478"/>
          <ac:picMkLst>
            <pc:docMk/>
            <pc:sldMk cId="4189480846" sldId="275"/>
            <ac:picMk id="4" creationId="{729DEA02-636B-567F-B355-27CE24745D45}"/>
          </ac:picMkLst>
        </pc:picChg>
        <pc:picChg chg="add mod">
          <ac:chgData name="Shreya Srivastava" userId="ae82a41d27ee62d3" providerId="LiveId" clId="{2CA4E358-3854-442B-AAC2-1A834E6A9EBE}" dt="2024-06-19T05:14:29.947" v="365" actId="14100"/>
          <ac:picMkLst>
            <pc:docMk/>
            <pc:sldMk cId="4189480846" sldId="275"/>
            <ac:picMk id="5" creationId="{DF3A9BC5-5587-933F-160D-59982E4CA52C}"/>
          </ac:picMkLst>
        </pc:picChg>
        <pc:picChg chg="add mod">
          <ac:chgData name="Shreya Srivastava" userId="ae82a41d27ee62d3" providerId="LiveId" clId="{2CA4E358-3854-442B-AAC2-1A834E6A9EBE}" dt="2024-06-19T05:12:39.661" v="360" actId="14100"/>
          <ac:picMkLst>
            <pc:docMk/>
            <pc:sldMk cId="4189480846" sldId="275"/>
            <ac:picMk id="6" creationId="{6856AD8C-7E9C-F76D-8669-E0FAFBB4F975}"/>
          </ac:picMkLst>
        </pc:picChg>
        <pc:picChg chg="add mod">
          <ac:chgData name="Shreya Srivastava" userId="ae82a41d27ee62d3" providerId="LiveId" clId="{2CA4E358-3854-442B-AAC2-1A834E6A9EBE}" dt="2024-06-19T05:14:11.360" v="363" actId="14100"/>
          <ac:picMkLst>
            <pc:docMk/>
            <pc:sldMk cId="4189480846" sldId="275"/>
            <ac:picMk id="7" creationId="{D1863CDA-6E45-2A22-202B-1C12A2C1444A}"/>
          </ac:picMkLst>
        </pc:picChg>
        <pc:picChg chg="add del mod">
          <ac:chgData name="Shreya Srivastava" userId="ae82a41d27ee62d3" providerId="LiveId" clId="{2CA4E358-3854-442B-AAC2-1A834E6A9EBE}" dt="2024-06-19T05:07:35.529" v="346" actId="478"/>
          <ac:picMkLst>
            <pc:docMk/>
            <pc:sldMk cId="4189480846" sldId="275"/>
            <ac:picMk id="1026" creationId="{ADD4A197-9781-149D-7839-FFB2369E70C6}"/>
          </ac:picMkLst>
        </pc:picChg>
      </pc:sldChg>
      <pc:sldChg chg="modSp mod">
        <pc:chgData name="Shreya Srivastava" userId="ae82a41d27ee62d3" providerId="LiveId" clId="{2CA4E358-3854-442B-AAC2-1A834E6A9EBE}" dt="2024-07-21T14:34:20.396" v="5569" actId="14100"/>
        <pc:sldMkLst>
          <pc:docMk/>
          <pc:sldMk cId="3214680870" sldId="276"/>
        </pc:sldMkLst>
        <pc:picChg chg="mod">
          <ac:chgData name="Shreya Srivastava" userId="ae82a41d27ee62d3" providerId="LiveId" clId="{2CA4E358-3854-442B-AAC2-1A834E6A9EBE}" dt="2024-07-21T14:34:20.396" v="5569" actId="14100"/>
          <ac:picMkLst>
            <pc:docMk/>
            <pc:sldMk cId="3214680870" sldId="276"/>
            <ac:picMk id="8" creationId="{68B6C30B-9498-D526-E15B-58D19B736B79}"/>
          </ac:picMkLst>
        </pc:picChg>
      </pc:sldChg>
      <pc:sldChg chg="ord">
        <pc:chgData name="Shreya Srivastava" userId="ae82a41d27ee62d3" providerId="LiveId" clId="{2CA4E358-3854-442B-AAC2-1A834E6A9EBE}" dt="2024-06-19T07:13:40.498" v="1565"/>
        <pc:sldMkLst>
          <pc:docMk/>
          <pc:sldMk cId="2903783438" sldId="4774"/>
        </pc:sldMkLst>
      </pc:sldChg>
      <pc:sldChg chg="addSp delSp modSp add mod ord">
        <pc:chgData name="Shreya Srivastava" userId="ae82a41d27ee62d3" providerId="LiveId" clId="{2CA4E358-3854-442B-AAC2-1A834E6A9EBE}" dt="2024-06-19T20:32:13.695" v="4752"/>
        <pc:sldMkLst>
          <pc:docMk/>
          <pc:sldMk cId="619324246" sldId="5408"/>
        </pc:sldMkLst>
        <pc:spChg chg="del">
          <ac:chgData name="Shreya Srivastava" userId="ae82a41d27ee62d3" providerId="LiveId" clId="{2CA4E358-3854-442B-AAC2-1A834E6A9EBE}" dt="2024-06-19T11:20:00.599" v="4288" actId="478"/>
          <ac:spMkLst>
            <pc:docMk/>
            <pc:sldMk cId="619324246" sldId="5408"/>
            <ac:spMk id="2" creationId="{020FF0A5-58C4-4E45-9729-07CFF1EB56E2}"/>
          </ac:spMkLst>
        </pc:spChg>
        <pc:spChg chg="del">
          <ac:chgData name="Shreya Srivastava" userId="ae82a41d27ee62d3" providerId="LiveId" clId="{2CA4E358-3854-442B-AAC2-1A834E6A9EBE}" dt="2024-06-19T11:21:32.561" v="4401" actId="478"/>
          <ac:spMkLst>
            <pc:docMk/>
            <pc:sldMk cId="619324246" sldId="5408"/>
            <ac:spMk id="3" creationId="{79C2CEEA-6064-48A7-AF12-6A36AF250F1B}"/>
          </ac:spMkLst>
        </pc:spChg>
        <pc:spChg chg="mod">
          <ac:chgData name="Shreya Srivastava" userId="ae82a41d27ee62d3" providerId="LiveId" clId="{2CA4E358-3854-442B-AAC2-1A834E6A9EBE}" dt="2024-06-19T11:23:58.775" v="4432" actId="164"/>
          <ac:spMkLst>
            <pc:docMk/>
            <pc:sldMk cId="619324246" sldId="5408"/>
            <ac:spMk id="4" creationId="{EDD8BD40-12E8-49B5-B613-A55D39B2E444}"/>
          </ac:spMkLst>
        </pc:spChg>
        <pc:spChg chg="mod">
          <ac:chgData name="Shreya Srivastava" userId="ae82a41d27ee62d3" providerId="LiveId" clId="{2CA4E358-3854-442B-AAC2-1A834E6A9EBE}" dt="2024-06-19T11:23:58.775" v="4432" actId="164"/>
          <ac:spMkLst>
            <pc:docMk/>
            <pc:sldMk cId="619324246" sldId="5408"/>
            <ac:spMk id="6" creationId="{A447E06D-87AE-4311-8AE3-DD1629F50ACF}"/>
          </ac:spMkLst>
        </pc:spChg>
        <pc:spChg chg="mod">
          <ac:chgData name="Shreya Srivastava" userId="ae82a41d27ee62d3" providerId="LiveId" clId="{2CA4E358-3854-442B-AAC2-1A834E6A9EBE}" dt="2024-06-19T11:23:58.775" v="4432" actId="164"/>
          <ac:spMkLst>
            <pc:docMk/>
            <pc:sldMk cId="619324246" sldId="5408"/>
            <ac:spMk id="7" creationId="{71C706CE-FCC9-45BF-9B36-597DFC572688}"/>
          </ac:spMkLst>
        </pc:spChg>
        <pc:spChg chg="add mod">
          <ac:chgData name="Shreya Srivastava" userId="ae82a41d27ee62d3" providerId="LiveId" clId="{2CA4E358-3854-442B-AAC2-1A834E6A9EBE}" dt="2024-06-19T11:20:10.775" v="4302" actId="122"/>
          <ac:spMkLst>
            <pc:docMk/>
            <pc:sldMk cId="619324246" sldId="5408"/>
            <ac:spMk id="8" creationId="{8D3907C3-39A6-DFE1-EF76-22003F9123C0}"/>
          </ac:spMkLst>
        </pc:spChg>
        <pc:spChg chg="mod">
          <ac:chgData name="Shreya Srivastava" userId="ae82a41d27ee62d3" providerId="LiveId" clId="{2CA4E358-3854-442B-AAC2-1A834E6A9EBE}" dt="2024-06-19T11:23:58.775" v="4432" actId="164"/>
          <ac:spMkLst>
            <pc:docMk/>
            <pc:sldMk cId="619324246" sldId="5408"/>
            <ac:spMk id="9" creationId="{087DF970-E318-44A3-9874-C450AF19A1D3}"/>
          </ac:spMkLst>
        </pc:spChg>
        <pc:spChg chg="mod">
          <ac:chgData name="Shreya Srivastava" userId="ae82a41d27ee62d3" providerId="LiveId" clId="{2CA4E358-3854-442B-AAC2-1A834E6A9EBE}" dt="2024-06-19T11:23:58.775" v="4432" actId="164"/>
          <ac:spMkLst>
            <pc:docMk/>
            <pc:sldMk cId="619324246" sldId="5408"/>
            <ac:spMk id="10" creationId="{6684D2F5-3440-418A-B42B-5A81E069F48C}"/>
          </ac:spMkLst>
        </pc:spChg>
        <pc:spChg chg="mod">
          <ac:chgData name="Shreya Srivastava" userId="ae82a41d27ee62d3" providerId="LiveId" clId="{2CA4E358-3854-442B-AAC2-1A834E6A9EBE}" dt="2024-06-19T11:23:58.775" v="4432" actId="164"/>
          <ac:spMkLst>
            <pc:docMk/>
            <pc:sldMk cId="619324246" sldId="5408"/>
            <ac:spMk id="11" creationId="{08D4EC0A-3D75-4E8F-9DDE-D489B2C50B15}"/>
          </ac:spMkLst>
        </pc:spChg>
        <pc:spChg chg="mod">
          <ac:chgData name="Shreya Srivastava" userId="ae82a41d27ee62d3" providerId="LiveId" clId="{2CA4E358-3854-442B-AAC2-1A834E6A9EBE}" dt="2024-06-19T11:27:53.001" v="4506" actId="20577"/>
          <ac:spMkLst>
            <pc:docMk/>
            <pc:sldMk cId="619324246" sldId="5408"/>
            <ac:spMk id="12" creationId="{1E31C1BA-BECB-487E-B91E-0FB74FFC8E62}"/>
          </ac:spMkLst>
        </pc:spChg>
        <pc:spChg chg="mod">
          <ac:chgData name="Shreya Srivastava" userId="ae82a41d27ee62d3" providerId="LiveId" clId="{2CA4E358-3854-442B-AAC2-1A834E6A9EBE}" dt="2024-06-19T11:24:20.499" v="4436" actId="1076"/>
          <ac:spMkLst>
            <pc:docMk/>
            <pc:sldMk cId="619324246" sldId="5408"/>
            <ac:spMk id="13" creationId="{AE598F04-1BAF-4752-B8CC-DC047F6EE093}"/>
          </ac:spMkLst>
        </pc:spChg>
        <pc:spChg chg="mod">
          <ac:chgData name="Shreya Srivastava" userId="ae82a41d27ee62d3" providerId="LiveId" clId="{2CA4E358-3854-442B-AAC2-1A834E6A9EBE}" dt="2024-06-19T11:25:31.605" v="4456" actId="14100"/>
          <ac:spMkLst>
            <pc:docMk/>
            <pc:sldMk cId="619324246" sldId="5408"/>
            <ac:spMk id="14" creationId="{AC234AB7-A369-4930-A5C6-99155A92D8FE}"/>
          </ac:spMkLst>
        </pc:spChg>
        <pc:spChg chg="mod">
          <ac:chgData name="Shreya Srivastava" userId="ae82a41d27ee62d3" providerId="LiveId" clId="{2CA4E358-3854-442B-AAC2-1A834E6A9EBE}" dt="2024-06-19T11:24:15.778" v="4435" actId="164"/>
          <ac:spMkLst>
            <pc:docMk/>
            <pc:sldMk cId="619324246" sldId="5408"/>
            <ac:spMk id="15" creationId="{1E49147B-4915-435F-9310-8670F16472AC}"/>
          </ac:spMkLst>
        </pc:spChg>
        <pc:spChg chg="mod">
          <ac:chgData name="Shreya Srivastava" userId="ae82a41d27ee62d3" providerId="LiveId" clId="{2CA4E358-3854-442B-AAC2-1A834E6A9EBE}" dt="2024-06-19T11:23:58.775" v="4432" actId="164"/>
          <ac:spMkLst>
            <pc:docMk/>
            <pc:sldMk cId="619324246" sldId="5408"/>
            <ac:spMk id="16" creationId="{D07A93AE-C080-4EB1-9F4A-3902A41E5C90}"/>
          </ac:spMkLst>
        </pc:spChg>
        <pc:spChg chg="mod">
          <ac:chgData name="Shreya Srivastava" userId="ae82a41d27ee62d3" providerId="LiveId" clId="{2CA4E358-3854-442B-AAC2-1A834E6A9EBE}" dt="2024-06-19T11:23:58.775" v="4432" actId="164"/>
          <ac:spMkLst>
            <pc:docMk/>
            <pc:sldMk cId="619324246" sldId="5408"/>
            <ac:spMk id="17" creationId="{61DE7CBC-75A7-498D-A89C-76FA7D5FF1B1}"/>
          </ac:spMkLst>
        </pc:spChg>
        <pc:spChg chg="mod">
          <ac:chgData name="Shreya Srivastava" userId="ae82a41d27ee62d3" providerId="LiveId" clId="{2CA4E358-3854-442B-AAC2-1A834E6A9EBE}" dt="2024-06-19T11:23:58.775" v="4432" actId="164"/>
          <ac:spMkLst>
            <pc:docMk/>
            <pc:sldMk cId="619324246" sldId="5408"/>
            <ac:spMk id="18" creationId="{F349AFA4-0F0E-4987-81ED-2A9A75876334}"/>
          </ac:spMkLst>
        </pc:spChg>
        <pc:spChg chg="mod">
          <ac:chgData name="Shreya Srivastava" userId="ae82a41d27ee62d3" providerId="LiveId" clId="{2CA4E358-3854-442B-AAC2-1A834E6A9EBE}" dt="2024-06-19T11:23:58.775" v="4432" actId="164"/>
          <ac:spMkLst>
            <pc:docMk/>
            <pc:sldMk cId="619324246" sldId="5408"/>
            <ac:spMk id="21" creationId="{F2C8C041-9C24-448D-982A-84C23E1434E6}"/>
          </ac:spMkLst>
        </pc:spChg>
        <pc:spChg chg="mod">
          <ac:chgData name="Shreya Srivastava" userId="ae82a41d27ee62d3" providerId="LiveId" clId="{2CA4E358-3854-442B-AAC2-1A834E6A9EBE}" dt="2024-06-19T11:23:58.775" v="4432" actId="164"/>
          <ac:spMkLst>
            <pc:docMk/>
            <pc:sldMk cId="619324246" sldId="5408"/>
            <ac:spMk id="22" creationId="{AD7E84AF-E021-4C15-81FA-B982ACF25249}"/>
          </ac:spMkLst>
        </pc:spChg>
        <pc:spChg chg="mod">
          <ac:chgData name="Shreya Srivastava" userId="ae82a41d27ee62d3" providerId="LiveId" clId="{2CA4E358-3854-442B-AAC2-1A834E6A9EBE}" dt="2024-06-19T11:23:58.775" v="4432" actId="164"/>
          <ac:spMkLst>
            <pc:docMk/>
            <pc:sldMk cId="619324246" sldId="5408"/>
            <ac:spMk id="23" creationId="{35353376-50BE-4C58-8A86-BD2981849E61}"/>
          </ac:spMkLst>
        </pc:spChg>
        <pc:spChg chg="mod">
          <ac:chgData name="Shreya Srivastava" userId="ae82a41d27ee62d3" providerId="LiveId" clId="{2CA4E358-3854-442B-AAC2-1A834E6A9EBE}" dt="2024-06-19T11:23:58.775" v="4432" actId="164"/>
          <ac:spMkLst>
            <pc:docMk/>
            <pc:sldMk cId="619324246" sldId="5408"/>
            <ac:spMk id="24" creationId="{BA65B955-B348-4B1C-849A-749813ACE511}"/>
          </ac:spMkLst>
        </pc:spChg>
        <pc:spChg chg="mod">
          <ac:chgData name="Shreya Srivastava" userId="ae82a41d27ee62d3" providerId="LiveId" clId="{2CA4E358-3854-442B-AAC2-1A834E6A9EBE}" dt="2024-06-19T11:23:58.775" v="4432" actId="164"/>
          <ac:spMkLst>
            <pc:docMk/>
            <pc:sldMk cId="619324246" sldId="5408"/>
            <ac:spMk id="25" creationId="{1099EF2A-DFCA-473F-9F87-17155720E1B2}"/>
          </ac:spMkLst>
        </pc:spChg>
        <pc:grpChg chg="add mod">
          <ac:chgData name="Shreya Srivastava" userId="ae82a41d27ee62d3" providerId="LiveId" clId="{2CA4E358-3854-442B-AAC2-1A834E6A9EBE}" dt="2024-06-19T11:24:15.778" v="4435" actId="164"/>
          <ac:grpSpMkLst>
            <pc:docMk/>
            <pc:sldMk cId="619324246" sldId="5408"/>
            <ac:grpSpMk id="19" creationId="{32BE0660-70D4-0286-DE53-F81CA8467ADB}"/>
          </ac:grpSpMkLst>
        </pc:grpChg>
        <pc:grpChg chg="add mod">
          <ac:chgData name="Shreya Srivastava" userId="ae82a41d27ee62d3" providerId="LiveId" clId="{2CA4E358-3854-442B-AAC2-1A834E6A9EBE}" dt="2024-06-19T11:24:15.778" v="4435" actId="164"/>
          <ac:grpSpMkLst>
            <pc:docMk/>
            <pc:sldMk cId="619324246" sldId="5408"/>
            <ac:grpSpMk id="20" creationId="{490E0721-8377-6762-9484-8CD0AAE26A3A}"/>
          </ac:grpSpMkLst>
        </pc:grpChg>
      </pc:sldChg>
      <pc:sldChg chg="addSp delSp modSp add mod ord">
        <pc:chgData name="Shreya Srivastava" userId="ae82a41d27ee62d3" providerId="LiveId" clId="{2CA4E358-3854-442B-AAC2-1A834E6A9EBE}" dt="2024-06-19T08:35:21.015" v="1614"/>
        <pc:sldMkLst>
          <pc:docMk/>
          <pc:sldMk cId="1626982982" sldId="5458"/>
        </pc:sldMkLst>
        <pc:spChg chg="add mod">
          <ac:chgData name="Shreya Srivastava" userId="ae82a41d27ee62d3" providerId="LiveId" clId="{2CA4E358-3854-442B-AAC2-1A834E6A9EBE}" dt="2024-06-19T06:49:36.734" v="1345" actId="113"/>
          <ac:spMkLst>
            <pc:docMk/>
            <pc:sldMk cId="1626982982" sldId="5458"/>
            <ac:spMk id="4" creationId="{B049730B-55AD-45B2-530A-5A4B33AFC408}"/>
          </ac:spMkLst>
        </pc:spChg>
        <pc:spChg chg="del mod">
          <ac:chgData name="Shreya Srivastava" userId="ae82a41d27ee62d3" providerId="LiveId" clId="{2CA4E358-3854-442B-AAC2-1A834E6A9EBE}" dt="2024-06-19T06:55:16.614" v="1545" actId="478"/>
          <ac:spMkLst>
            <pc:docMk/>
            <pc:sldMk cId="1626982982" sldId="5458"/>
            <ac:spMk id="41" creationId="{2F24B04A-2B4C-4F2F-9909-B7749A9A132A}"/>
          </ac:spMkLst>
        </pc:spChg>
        <pc:spChg chg="del">
          <ac:chgData name="Shreya Srivastava" userId="ae82a41d27ee62d3" providerId="LiveId" clId="{2CA4E358-3854-442B-AAC2-1A834E6A9EBE}" dt="2024-06-19T06:20:19.625" v="657" actId="478"/>
          <ac:spMkLst>
            <pc:docMk/>
            <pc:sldMk cId="1626982982" sldId="5458"/>
            <ac:spMk id="42" creationId="{D4967167-B5A3-47B9-94C1-7C30C5716904}"/>
          </ac:spMkLst>
        </pc:spChg>
        <pc:spChg chg="del">
          <ac:chgData name="Shreya Srivastava" userId="ae82a41d27ee62d3" providerId="LiveId" clId="{2CA4E358-3854-442B-AAC2-1A834E6A9EBE}" dt="2024-06-19T06:20:15.582" v="656" actId="478"/>
          <ac:spMkLst>
            <pc:docMk/>
            <pc:sldMk cId="1626982982" sldId="5458"/>
            <ac:spMk id="43" creationId="{747E0A58-96F5-45DD-AEA3-B2E93037AF03}"/>
          </ac:spMkLst>
        </pc:spChg>
        <pc:spChg chg="mod">
          <ac:chgData name="Shreya Srivastava" userId="ae82a41d27ee62d3" providerId="LiveId" clId="{2CA4E358-3854-442B-AAC2-1A834E6A9EBE}" dt="2024-06-19T06:20:55.005" v="698" actId="1076"/>
          <ac:spMkLst>
            <pc:docMk/>
            <pc:sldMk cId="1626982982" sldId="5458"/>
            <ac:spMk id="53" creationId="{48AC36FF-BA7C-4440-8586-CF4E8150C09A}"/>
          </ac:spMkLst>
        </pc:spChg>
        <pc:spChg chg="del mod">
          <ac:chgData name="Shreya Srivastava" userId="ae82a41d27ee62d3" providerId="LiveId" clId="{2CA4E358-3854-442B-AAC2-1A834E6A9EBE}" dt="2024-06-19T06:19:46.476" v="655" actId="478"/>
          <ac:spMkLst>
            <pc:docMk/>
            <pc:sldMk cId="1626982982" sldId="5458"/>
            <ac:spMk id="87" creationId="{B06B0D67-2F86-4E99-B095-FD18B5747AD7}"/>
          </ac:spMkLst>
        </pc:spChg>
        <pc:spChg chg="mod">
          <ac:chgData name="Shreya Srivastava" userId="ae82a41d27ee62d3" providerId="LiveId" clId="{2CA4E358-3854-442B-AAC2-1A834E6A9EBE}" dt="2024-06-19T06:28:51.731" v="744" actId="13926"/>
          <ac:spMkLst>
            <pc:docMk/>
            <pc:sldMk cId="1626982982" sldId="5458"/>
            <ac:spMk id="88" creationId="{579DFEB6-A302-43BD-B46D-0A06619EC047}"/>
          </ac:spMkLst>
        </pc:spChg>
        <pc:spChg chg="mod">
          <ac:chgData name="Shreya Srivastava" userId="ae82a41d27ee62d3" providerId="LiveId" clId="{2CA4E358-3854-442B-AAC2-1A834E6A9EBE}" dt="2024-06-19T06:53:44.124" v="1487" actId="2710"/>
          <ac:spMkLst>
            <pc:docMk/>
            <pc:sldMk cId="1626982982" sldId="5458"/>
            <ac:spMk id="89" creationId="{777E7595-E8A2-4DBE-AD7E-2FFC290D7A61}"/>
          </ac:spMkLst>
        </pc:spChg>
        <pc:spChg chg="del">
          <ac:chgData name="Shreya Srivastava" userId="ae82a41d27ee62d3" providerId="LiveId" clId="{2CA4E358-3854-442B-AAC2-1A834E6A9EBE}" dt="2024-06-19T06:46:41.846" v="1304" actId="478"/>
          <ac:spMkLst>
            <pc:docMk/>
            <pc:sldMk cId="1626982982" sldId="5458"/>
            <ac:spMk id="90" creationId="{80E111A9-90D5-46E1-A9A6-BB9643860890}"/>
          </ac:spMkLst>
        </pc:spChg>
        <pc:spChg chg="mod">
          <ac:chgData name="Shreya Srivastava" userId="ae82a41d27ee62d3" providerId="LiveId" clId="{2CA4E358-3854-442B-AAC2-1A834E6A9EBE}" dt="2024-06-19T06:43:33.817" v="1091" actId="1076"/>
          <ac:spMkLst>
            <pc:docMk/>
            <pc:sldMk cId="1626982982" sldId="5458"/>
            <ac:spMk id="100" creationId="{3F1E0DF3-638F-40EC-9A84-FC539A13F27C}"/>
          </ac:spMkLst>
        </pc:spChg>
        <pc:spChg chg="mod">
          <ac:chgData name="Shreya Srivastava" userId="ae82a41d27ee62d3" providerId="LiveId" clId="{2CA4E358-3854-442B-AAC2-1A834E6A9EBE}" dt="2024-06-19T06:34:30.317" v="747" actId="14100"/>
          <ac:spMkLst>
            <pc:docMk/>
            <pc:sldMk cId="1626982982" sldId="5458"/>
            <ac:spMk id="101" creationId="{270EB8B4-1440-4CAD-9AFD-19476B85E10C}"/>
          </ac:spMkLst>
        </pc:spChg>
        <pc:spChg chg="mod">
          <ac:chgData name="Shreya Srivastava" userId="ae82a41d27ee62d3" providerId="LiveId" clId="{2CA4E358-3854-442B-AAC2-1A834E6A9EBE}" dt="2024-06-19T06:34:52.928" v="750" actId="14100"/>
          <ac:spMkLst>
            <pc:docMk/>
            <pc:sldMk cId="1626982982" sldId="5458"/>
            <ac:spMk id="102" creationId="{D637AC1B-62BB-4A95-B714-4B6DC8BA3931}"/>
          </ac:spMkLst>
        </pc:spChg>
        <pc:spChg chg="mod">
          <ac:chgData name="Shreya Srivastava" userId="ae82a41d27ee62d3" providerId="LiveId" clId="{2CA4E358-3854-442B-AAC2-1A834E6A9EBE}" dt="2024-06-19T06:43:51.531" v="1094" actId="122"/>
          <ac:spMkLst>
            <pc:docMk/>
            <pc:sldMk cId="1626982982" sldId="5458"/>
            <ac:spMk id="106" creationId="{263F4A5D-6B9D-450F-A3BA-9106F8225864}"/>
          </ac:spMkLst>
        </pc:spChg>
        <pc:spChg chg="mod">
          <ac:chgData name="Shreya Srivastava" userId="ae82a41d27ee62d3" providerId="LiveId" clId="{2CA4E358-3854-442B-AAC2-1A834E6A9EBE}" dt="2024-06-19T06:41:16.668" v="899" actId="122"/>
          <ac:spMkLst>
            <pc:docMk/>
            <pc:sldMk cId="1626982982" sldId="5458"/>
            <ac:spMk id="107" creationId="{BFFBEA5E-C51E-47D1-AC3C-CAF8AC0F7CE4}"/>
          </ac:spMkLst>
        </pc:spChg>
        <pc:spChg chg="mod">
          <ac:chgData name="Shreya Srivastava" userId="ae82a41d27ee62d3" providerId="LiveId" clId="{2CA4E358-3854-442B-AAC2-1A834E6A9EBE}" dt="2024-06-19T06:42:12.554" v="994" actId="2711"/>
          <ac:spMkLst>
            <pc:docMk/>
            <pc:sldMk cId="1626982982" sldId="5458"/>
            <ac:spMk id="111" creationId="{6B703B6D-E6BF-424D-AEF7-04A6B2F12F41}"/>
          </ac:spMkLst>
        </pc:spChg>
        <pc:graphicFrameChg chg="add del mod modGraphic">
          <ac:chgData name="Shreya Srivastava" userId="ae82a41d27ee62d3" providerId="LiveId" clId="{2CA4E358-3854-442B-AAC2-1A834E6A9EBE}" dt="2024-06-19T06:43:55.889" v="1095" actId="478"/>
          <ac:graphicFrameMkLst>
            <pc:docMk/>
            <pc:sldMk cId="1626982982" sldId="5458"/>
            <ac:graphicFrameMk id="2" creationId="{1F7714DD-C6E7-B348-78A4-E0CDA1827274}"/>
          </ac:graphicFrameMkLst>
        </pc:graphicFrameChg>
        <pc:cxnChg chg="mod">
          <ac:chgData name="Shreya Srivastava" userId="ae82a41d27ee62d3" providerId="LiveId" clId="{2CA4E358-3854-442B-AAC2-1A834E6A9EBE}" dt="2024-06-19T06:44:11.005" v="1096" actId="14100"/>
          <ac:cxnSpMkLst>
            <pc:docMk/>
            <pc:sldMk cId="1626982982" sldId="5458"/>
            <ac:cxnSpMk id="95" creationId="{B4178DFC-6BE5-49F4-926C-1BF890DC5911}"/>
          </ac:cxnSpMkLst>
        </pc:cxnChg>
      </pc:sldChg>
      <pc:sldChg chg="addSp delSp modSp add mod ord modNotesTx">
        <pc:chgData name="Shreya Srivastava" userId="ae82a41d27ee62d3" providerId="LiveId" clId="{2CA4E358-3854-442B-AAC2-1A834E6A9EBE}" dt="2024-06-19T09:29:53.834" v="2677"/>
        <pc:sldMkLst>
          <pc:docMk/>
          <pc:sldMk cId="3427211896" sldId="5520"/>
        </pc:sldMkLst>
        <pc:spChg chg="add">
          <ac:chgData name="Shreya Srivastava" userId="ae82a41d27ee62d3" providerId="LiveId" clId="{2CA4E358-3854-442B-AAC2-1A834E6A9EBE}" dt="2024-06-19T09:05:40.607" v="2241"/>
          <ac:spMkLst>
            <pc:docMk/>
            <pc:sldMk cId="3427211896" sldId="5520"/>
            <ac:spMk id="3" creationId="{8C0DE7D2-79D1-A26D-2086-5E4615BE3F61}"/>
          </ac:spMkLst>
        </pc:spChg>
        <pc:spChg chg="del">
          <ac:chgData name="Shreya Srivastava" userId="ae82a41d27ee62d3" providerId="LiveId" clId="{2CA4E358-3854-442B-AAC2-1A834E6A9EBE}" dt="2024-06-19T06:55:04.446" v="1540" actId="478"/>
          <ac:spMkLst>
            <pc:docMk/>
            <pc:sldMk cId="3427211896" sldId="5520"/>
            <ac:spMk id="41" creationId="{2F24B04A-2B4C-4F2F-9909-B7749A9A132A}"/>
          </ac:spMkLst>
        </pc:spChg>
        <pc:spChg chg="del">
          <ac:chgData name="Shreya Srivastava" userId="ae82a41d27ee62d3" providerId="LiveId" clId="{2CA4E358-3854-442B-AAC2-1A834E6A9EBE}" dt="2024-06-19T06:55:12.634" v="1543" actId="478"/>
          <ac:spMkLst>
            <pc:docMk/>
            <pc:sldMk cId="3427211896" sldId="5520"/>
            <ac:spMk id="42" creationId="{D4967167-B5A3-47B9-94C1-7C30C5716904}"/>
          </ac:spMkLst>
        </pc:spChg>
        <pc:spChg chg="del mod">
          <ac:chgData name="Shreya Srivastava" userId="ae82a41d27ee62d3" providerId="LiveId" clId="{2CA4E358-3854-442B-AAC2-1A834E6A9EBE}" dt="2024-06-19T06:55:10.164" v="1542" actId="478"/>
          <ac:spMkLst>
            <pc:docMk/>
            <pc:sldMk cId="3427211896" sldId="5520"/>
            <ac:spMk id="43" creationId="{747E0A58-96F5-45DD-AEA3-B2E93037AF03}"/>
          </ac:spMkLst>
        </pc:spChg>
        <pc:spChg chg="mod">
          <ac:chgData name="Shreya Srivastava" userId="ae82a41d27ee62d3" providerId="LiveId" clId="{2CA4E358-3854-442B-AAC2-1A834E6A9EBE}" dt="2024-06-19T06:55:00.391" v="1539" actId="255"/>
          <ac:spMkLst>
            <pc:docMk/>
            <pc:sldMk cId="3427211896" sldId="5520"/>
            <ac:spMk id="53" creationId="{48AC36FF-BA7C-4440-8586-CF4E8150C09A}"/>
          </ac:spMkLst>
        </pc:spChg>
        <pc:spChg chg="del mod">
          <ac:chgData name="Shreya Srivastava" userId="ae82a41d27ee62d3" providerId="LiveId" clId="{2CA4E358-3854-442B-AAC2-1A834E6A9EBE}" dt="2024-06-19T06:53:59.033" v="1488" actId="478"/>
          <ac:spMkLst>
            <pc:docMk/>
            <pc:sldMk cId="3427211896" sldId="5520"/>
            <ac:spMk id="87" creationId="{B06B0D67-2F86-4E99-B095-FD18B5747AD7}"/>
          </ac:spMkLst>
        </pc:spChg>
        <pc:spChg chg="mod">
          <ac:chgData name="Shreya Srivastava" userId="ae82a41d27ee62d3" providerId="LiveId" clId="{2CA4E358-3854-442B-AAC2-1A834E6A9EBE}" dt="2024-06-19T09:08:02.980" v="2371" actId="255"/>
          <ac:spMkLst>
            <pc:docMk/>
            <pc:sldMk cId="3427211896" sldId="5520"/>
            <ac:spMk id="88" creationId="{579DFEB6-A302-43BD-B46D-0A06619EC047}"/>
          </ac:spMkLst>
        </pc:spChg>
        <pc:spChg chg="mod">
          <ac:chgData name="Shreya Srivastava" userId="ae82a41d27ee62d3" providerId="LiveId" clId="{2CA4E358-3854-442B-AAC2-1A834E6A9EBE}" dt="2024-06-19T09:02:05.224" v="2240" actId="255"/>
          <ac:spMkLst>
            <pc:docMk/>
            <pc:sldMk cId="3427211896" sldId="5520"/>
            <ac:spMk id="89" creationId="{777E7595-E8A2-4DBE-AD7E-2FFC290D7A61}"/>
          </ac:spMkLst>
        </pc:spChg>
        <pc:spChg chg="del">
          <ac:chgData name="Shreya Srivastava" userId="ae82a41d27ee62d3" providerId="LiveId" clId="{2CA4E358-3854-442B-AAC2-1A834E6A9EBE}" dt="2024-06-19T08:43:46.472" v="1618" actId="478"/>
          <ac:spMkLst>
            <pc:docMk/>
            <pc:sldMk cId="3427211896" sldId="5520"/>
            <ac:spMk id="90" creationId="{80E111A9-90D5-46E1-A9A6-BB9643860890}"/>
          </ac:spMkLst>
        </pc:spChg>
        <pc:spChg chg="mod">
          <ac:chgData name="Shreya Srivastava" userId="ae82a41d27ee62d3" providerId="LiveId" clId="{2CA4E358-3854-442B-AAC2-1A834E6A9EBE}" dt="2024-06-19T09:22:31.217" v="2673" actId="164"/>
          <ac:spMkLst>
            <pc:docMk/>
            <pc:sldMk cId="3427211896" sldId="5520"/>
            <ac:spMk id="91" creationId="{2692EDDA-3343-4CBF-926D-DC56D7808106}"/>
          </ac:spMkLst>
        </pc:spChg>
        <pc:spChg chg="mod">
          <ac:chgData name="Shreya Srivastava" userId="ae82a41d27ee62d3" providerId="LiveId" clId="{2CA4E358-3854-442B-AAC2-1A834E6A9EBE}" dt="2024-06-19T09:22:31.217" v="2673" actId="164"/>
          <ac:spMkLst>
            <pc:docMk/>
            <pc:sldMk cId="3427211896" sldId="5520"/>
            <ac:spMk id="100" creationId="{3F1E0DF3-638F-40EC-9A84-FC539A13F27C}"/>
          </ac:spMkLst>
        </pc:spChg>
        <pc:spChg chg="mod">
          <ac:chgData name="Shreya Srivastava" userId="ae82a41d27ee62d3" providerId="LiveId" clId="{2CA4E358-3854-442B-AAC2-1A834E6A9EBE}" dt="2024-06-19T09:22:31.217" v="2673" actId="164"/>
          <ac:spMkLst>
            <pc:docMk/>
            <pc:sldMk cId="3427211896" sldId="5520"/>
            <ac:spMk id="101" creationId="{270EB8B4-1440-4CAD-9AFD-19476B85E10C}"/>
          </ac:spMkLst>
        </pc:spChg>
        <pc:spChg chg="mod">
          <ac:chgData name="Shreya Srivastava" userId="ae82a41d27ee62d3" providerId="LiveId" clId="{2CA4E358-3854-442B-AAC2-1A834E6A9EBE}" dt="2024-06-19T09:22:31.217" v="2673" actId="164"/>
          <ac:spMkLst>
            <pc:docMk/>
            <pc:sldMk cId="3427211896" sldId="5520"/>
            <ac:spMk id="102" creationId="{D637AC1B-62BB-4A95-B714-4B6DC8BA3931}"/>
          </ac:spMkLst>
        </pc:spChg>
        <pc:spChg chg="mod">
          <ac:chgData name="Shreya Srivastava" userId="ae82a41d27ee62d3" providerId="LiveId" clId="{2CA4E358-3854-442B-AAC2-1A834E6A9EBE}" dt="2024-06-19T09:22:31.217" v="2673" actId="164"/>
          <ac:spMkLst>
            <pc:docMk/>
            <pc:sldMk cId="3427211896" sldId="5520"/>
            <ac:spMk id="106" creationId="{263F4A5D-6B9D-450F-A3BA-9106F8225864}"/>
          </ac:spMkLst>
        </pc:spChg>
        <pc:spChg chg="mod">
          <ac:chgData name="Shreya Srivastava" userId="ae82a41d27ee62d3" providerId="LiveId" clId="{2CA4E358-3854-442B-AAC2-1A834E6A9EBE}" dt="2024-06-19T09:22:31.217" v="2673" actId="164"/>
          <ac:spMkLst>
            <pc:docMk/>
            <pc:sldMk cId="3427211896" sldId="5520"/>
            <ac:spMk id="107" creationId="{BFFBEA5E-C51E-47D1-AC3C-CAF8AC0F7CE4}"/>
          </ac:spMkLst>
        </pc:spChg>
        <pc:spChg chg="mod">
          <ac:chgData name="Shreya Srivastava" userId="ae82a41d27ee62d3" providerId="LiveId" clId="{2CA4E358-3854-442B-AAC2-1A834E6A9EBE}" dt="2024-06-19T09:22:31.217" v="2673" actId="164"/>
          <ac:spMkLst>
            <pc:docMk/>
            <pc:sldMk cId="3427211896" sldId="5520"/>
            <ac:spMk id="111" creationId="{6B703B6D-E6BF-424D-AEF7-04A6B2F12F41}"/>
          </ac:spMkLst>
        </pc:spChg>
        <pc:grpChg chg="add mod">
          <ac:chgData name="Shreya Srivastava" userId="ae82a41d27ee62d3" providerId="LiveId" clId="{2CA4E358-3854-442B-AAC2-1A834E6A9EBE}" dt="2024-06-19T09:22:34.748" v="2674" actId="1076"/>
          <ac:grpSpMkLst>
            <pc:docMk/>
            <pc:sldMk cId="3427211896" sldId="5520"/>
            <ac:grpSpMk id="4" creationId="{193C2CF9-7CDC-875C-DE4B-8B7F27A6B2D3}"/>
          </ac:grpSpMkLst>
        </pc:grpChg>
        <pc:grpChg chg="mod">
          <ac:chgData name="Shreya Srivastava" userId="ae82a41d27ee62d3" providerId="LiveId" clId="{2CA4E358-3854-442B-AAC2-1A834E6A9EBE}" dt="2024-06-19T09:22:31.217" v="2673" actId="164"/>
          <ac:grpSpMkLst>
            <pc:docMk/>
            <pc:sldMk cId="3427211896" sldId="5520"/>
            <ac:grpSpMk id="83" creationId="{D7152A40-59D3-491D-AD6C-02E19C8CFCE4}"/>
          </ac:grpSpMkLst>
        </pc:grpChg>
        <pc:grpChg chg="mod">
          <ac:chgData name="Shreya Srivastava" userId="ae82a41d27ee62d3" providerId="LiveId" clId="{2CA4E358-3854-442B-AAC2-1A834E6A9EBE}" dt="2024-06-19T09:22:31.217" v="2673" actId="164"/>
          <ac:grpSpMkLst>
            <pc:docMk/>
            <pc:sldMk cId="3427211896" sldId="5520"/>
            <ac:grpSpMk id="103" creationId="{F5CC811D-A77B-4AF4-8E53-BC7BC7C8DADB}"/>
          </ac:grpSpMkLst>
        </pc:grpChg>
        <pc:grpChg chg="mod">
          <ac:chgData name="Shreya Srivastava" userId="ae82a41d27ee62d3" providerId="LiveId" clId="{2CA4E358-3854-442B-AAC2-1A834E6A9EBE}" dt="2024-06-19T09:22:31.217" v="2673" actId="164"/>
          <ac:grpSpMkLst>
            <pc:docMk/>
            <pc:sldMk cId="3427211896" sldId="5520"/>
            <ac:grpSpMk id="108" creationId="{5F3ADBB3-BC6B-4449-9BC8-AABA982F95DA}"/>
          </ac:grpSpMkLst>
        </pc:grpChg>
        <pc:cxnChg chg="mod">
          <ac:chgData name="Shreya Srivastava" userId="ae82a41d27ee62d3" providerId="LiveId" clId="{2CA4E358-3854-442B-AAC2-1A834E6A9EBE}" dt="2024-06-19T09:22:31.217" v="2673" actId="164"/>
          <ac:cxnSpMkLst>
            <pc:docMk/>
            <pc:sldMk cId="3427211896" sldId="5520"/>
            <ac:cxnSpMk id="95" creationId="{B4178DFC-6BE5-49F4-926C-1BF890DC5911}"/>
          </ac:cxnSpMkLst>
        </pc:cxnChg>
      </pc:sldChg>
      <pc:sldChg chg="delSp modSp add del mod">
        <pc:chgData name="Shreya Srivastava" userId="ae82a41d27ee62d3" providerId="LiveId" clId="{2CA4E358-3854-442B-AAC2-1A834E6A9EBE}" dt="2024-06-19T10:54:30.860" v="3946" actId="47"/>
        <pc:sldMkLst>
          <pc:docMk/>
          <pc:sldMk cId="723047267" sldId="2147470198"/>
        </pc:sldMkLst>
        <pc:spChg chg="mod">
          <ac:chgData name="Shreya Srivastava" userId="ae82a41d27ee62d3" providerId="LiveId" clId="{2CA4E358-3854-442B-AAC2-1A834E6A9EBE}" dt="2024-06-19T09:36:18.879" v="2731" actId="2711"/>
          <ac:spMkLst>
            <pc:docMk/>
            <pc:sldMk cId="723047267" sldId="2147470198"/>
            <ac:spMk id="4" creationId="{23CD327A-229E-4819-BE63-0E761CD34439}"/>
          </ac:spMkLst>
        </pc:spChg>
        <pc:spChg chg="mod">
          <ac:chgData name="Shreya Srivastava" userId="ae82a41d27ee62d3" providerId="LiveId" clId="{2CA4E358-3854-442B-AAC2-1A834E6A9EBE}" dt="2024-06-19T09:38:19.198" v="2778" actId="14100"/>
          <ac:spMkLst>
            <pc:docMk/>
            <pc:sldMk cId="723047267" sldId="2147470198"/>
            <ac:spMk id="56" creationId="{7FAA680A-2EA2-4587-9F52-A07736D35224}"/>
          </ac:spMkLst>
        </pc:spChg>
        <pc:spChg chg="mod">
          <ac:chgData name="Shreya Srivastava" userId="ae82a41d27ee62d3" providerId="LiveId" clId="{2CA4E358-3854-442B-AAC2-1A834E6A9EBE}" dt="2024-06-19T09:36:55.742" v="2756" actId="20577"/>
          <ac:spMkLst>
            <pc:docMk/>
            <pc:sldMk cId="723047267" sldId="2147470198"/>
            <ac:spMk id="57" creationId="{6D974E23-76BE-400A-897C-D1CB4A1B45A0}"/>
          </ac:spMkLst>
        </pc:spChg>
        <pc:spChg chg="mod">
          <ac:chgData name="Shreya Srivastava" userId="ae82a41d27ee62d3" providerId="LiveId" clId="{2CA4E358-3854-442B-AAC2-1A834E6A9EBE}" dt="2024-06-19T09:37:03.958" v="2764" actId="20577"/>
          <ac:spMkLst>
            <pc:docMk/>
            <pc:sldMk cId="723047267" sldId="2147470198"/>
            <ac:spMk id="58" creationId="{4C80439A-E5CA-4FCE-8E12-0072B4B29A5E}"/>
          </ac:spMkLst>
        </pc:spChg>
        <pc:spChg chg="mod">
          <ac:chgData name="Shreya Srivastava" userId="ae82a41d27ee62d3" providerId="LiveId" clId="{2CA4E358-3854-442B-AAC2-1A834E6A9EBE}" dt="2024-06-19T09:38:05.252" v="2776" actId="6549"/>
          <ac:spMkLst>
            <pc:docMk/>
            <pc:sldMk cId="723047267" sldId="2147470198"/>
            <ac:spMk id="59" creationId="{1B2B5BD2-A333-43A3-A688-53CF02D19DF9}"/>
          </ac:spMkLst>
        </pc:spChg>
        <pc:picChg chg="del">
          <ac:chgData name="Shreya Srivastava" userId="ae82a41d27ee62d3" providerId="LiveId" clId="{2CA4E358-3854-442B-AAC2-1A834E6A9EBE}" dt="2024-06-19T09:36:23.574" v="2732" actId="478"/>
          <ac:picMkLst>
            <pc:docMk/>
            <pc:sldMk cId="723047267" sldId="2147470198"/>
            <ac:picMk id="60" creationId="{370BF89E-BED8-4F04-92B2-EC32C88B5761}"/>
          </ac:picMkLst>
        </pc:picChg>
        <pc:picChg chg="del">
          <ac:chgData name="Shreya Srivastava" userId="ae82a41d27ee62d3" providerId="LiveId" clId="{2CA4E358-3854-442B-AAC2-1A834E6A9EBE}" dt="2024-06-19T09:36:27.055" v="2733" actId="478"/>
          <ac:picMkLst>
            <pc:docMk/>
            <pc:sldMk cId="723047267" sldId="2147470198"/>
            <ac:picMk id="61" creationId="{CAC3C44F-4EA9-47A5-921C-2724569ED62F}"/>
          </ac:picMkLst>
        </pc:picChg>
        <pc:picChg chg="del">
          <ac:chgData name="Shreya Srivastava" userId="ae82a41d27ee62d3" providerId="LiveId" clId="{2CA4E358-3854-442B-AAC2-1A834E6A9EBE}" dt="2024-06-19T09:36:32.345" v="2735" actId="478"/>
          <ac:picMkLst>
            <pc:docMk/>
            <pc:sldMk cId="723047267" sldId="2147470198"/>
            <ac:picMk id="62" creationId="{1B42979A-B0B7-4A22-8BB0-1A9EAFE0C247}"/>
          </ac:picMkLst>
        </pc:picChg>
        <pc:picChg chg="del">
          <ac:chgData name="Shreya Srivastava" userId="ae82a41d27ee62d3" providerId="LiveId" clId="{2CA4E358-3854-442B-AAC2-1A834E6A9EBE}" dt="2024-06-19T09:36:29.512" v="2734" actId="478"/>
          <ac:picMkLst>
            <pc:docMk/>
            <pc:sldMk cId="723047267" sldId="2147470198"/>
            <ac:picMk id="63" creationId="{7C3AA6B0-D619-434E-8FDF-E8FF1704EE28}"/>
          </ac:picMkLst>
        </pc:picChg>
      </pc:sldChg>
      <pc:sldChg chg="addSp delSp modSp add mod">
        <pc:chgData name="Shreya Srivastava" userId="ae82a41d27ee62d3" providerId="LiveId" clId="{2CA4E358-3854-442B-AAC2-1A834E6A9EBE}" dt="2024-06-19T20:26:14.343" v="4750" actId="1038"/>
        <pc:sldMkLst>
          <pc:docMk/>
          <pc:sldMk cId="281258832" sldId="2147470229"/>
        </pc:sldMkLst>
        <pc:spChg chg="add del mod">
          <ac:chgData name="Shreya Srivastava" userId="ae82a41d27ee62d3" providerId="LiveId" clId="{2CA4E358-3854-442B-AAC2-1A834E6A9EBE}" dt="2024-06-19T10:43:03.328" v="3207" actId="478"/>
          <ac:spMkLst>
            <pc:docMk/>
            <pc:sldMk cId="281258832" sldId="2147470229"/>
            <ac:spMk id="3" creationId="{1C603990-3546-0D81-7AC5-5E10C225C755}"/>
          </ac:spMkLst>
        </pc:spChg>
        <pc:spChg chg="mod">
          <ac:chgData name="Shreya Srivastava" userId="ae82a41d27ee62d3" providerId="LiveId" clId="{2CA4E358-3854-442B-AAC2-1A834E6A9EBE}" dt="2024-06-19T11:03:10.608" v="4046" actId="164"/>
          <ac:spMkLst>
            <pc:docMk/>
            <pc:sldMk cId="281258832" sldId="2147470229"/>
            <ac:spMk id="4" creationId="{3824AEF6-B436-449B-8D3F-66676094A611}"/>
          </ac:spMkLst>
        </pc:spChg>
        <pc:spChg chg="mod">
          <ac:chgData name="Shreya Srivastava" userId="ae82a41d27ee62d3" providerId="LiveId" clId="{2CA4E358-3854-442B-AAC2-1A834E6A9EBE}" dt="2024-06-19T11:03:10.608" v="4046" actId="164"/>
          <ac:spMkLst>
            <pc:docMk/>
            <pc:sldMk cId="281258832" sldId="2147470229"/>
            <ac:spMk id="5" creationId="{914B0320-D03C-49A7-9BF0-5046D4129DD2}"/>
          </ac:spMkLst>
        </pc:spChg>
        <pc:spChg chg="mod">
          <ac:chgData name="Shreya Srivastava" userId="ae82a41d27ee62d3" providerId="LiveId" clId="{2CA4E358-3854-442B-AAC2-1A834E6A9EBE}" dt="2024-06-19T11:03:10.608" v="4046" actId="164"/>
          <ac:spMkLst>
            <pc:docMk/>
            <pc:sldMk cId="281258832" sldId="2147470229"/>
            <ac:spMk id="6" creationId="{3777D9BB-C5B2-4BB4-8A39-8332F5263138}"/>
          </ac:spMkLst>
        </pc:spChg>
        <pc:spChg chg="mod">
          <ac:chgData name="Shreya Srivastava" userId="ae82a41d27ee62d3" providerId="LiveId" clId="{2CA4E358-3854-442B-AAC2-1A834E6A9EBE}" dt="2024-06-19T11:03:10.608" v="4046" actId="164"/>
          <ac:spMkLst>
            <pc:docMk/>
            <pc:sldMk cId="281258832" sldId="2147470229"/>
            <ac:spMk id="7" creationId="{730F91F2-BAA3-46AB-9DDC-E73ECBCDD2A3}"/>
          </ac:spMkLst>
        </pc:spChg>
        <pc:spChg chg="mod">
          <ac:chgData name="Shreya Srivastava" userId="ae82a41d27ee62d3" providerId="LiveId" clId="{2CA4E358-3854-442B-AAC2-1A834E6A9EBE}" dt="2024-06-19T11:02:48.776" v="4042" actId="164"/>
          <ac:spMkLst>
            <pc:docMk/>
            <pc:sldMk cId="281258832" sldId="2147470229"/>
            <ac:spMk id="8" creationId="{DC81BA1A-ADE9-4F23-9627-B686AD7D0C4A}"/>
          </ac:spMkLst>
        </pc:spChg>
        <pc:spChg chg="add mod">
          <ac:chgData name="Shreya Srivastava" userId="ae82a41d27ee62d3" providerId="LiveId" clId="{2CA4E358-3854-442B-AAC2-1A834E6A9EBE}" dt="2024-06-19T20:21:02.664" v="4741" actId="313"/>
          <ac:spMkLst>
            <pc:docMk/>
            <pc:sldMk cId="281258832" sldId="2147470229"/>
            <ac:spMk id="9" creationId="{3382971B-B57D-54A5-CEAF-2BC112F7FAAA}"/>
          </ac:spMkLst>
        </pc:spChg>
        <pc:spChg chg="mod">
          <ac:chgData name="Shreya Srivastava" userId="ae82a41d27ee62d3" providerId="LiveId" clId="{2CA4E358-3854-442B-AAC2-1A834E6A9EBE}" dt="2024-06-19T11:03:10.608" v="4046" actId="164"/>
          <ac:spMkLst>
            <pc:docMk/>
            <pc:sldMk cId="281258832" sldId="2147470229"/>
            <ac:spMk id="11" creationId="{8E013C54-3466-43EC-88DD-49B5186183BA}"/>
          </ac:spMkLst>
        </pc:spChg>
        <pc:spChg chg="mod">
          <ac:chgData name="Shreya Srivastava" userId="ae82a41d27ee62d3" providerId="LiveId" clId="{2CA4E358-3854-442B-AAC2-1A834E6A9EBE}" dt="2024-06-19T11:03:10.608" v="4046" actId="164"/>
          <ac:spMkLst>
            <pc:docMk/>
            <pc:sldMk cId="281258832" sldId="2147470229"/>
            <ac:spMk id="12" creationId="{92232C75-5449-45E4-87DF-50692595DB09}"/>
          </ac:spMkLst>
        </pc:spChg>
        <pc:spChg chg="mod">
          <ac:chgData name="Shreya Srivastava" userId="ae82a41d27ee62d3" providerId="LiveId" clId="{2CA4E358-3854-442B-AAC2-1A834E6A9EBE}" dt="2024-06-19T11:02:48.776" v="4042" actId="164"/>
          <ac:spMkLst>
            <pc:docMk/>
            <pc:sldMk cId="281258832" sldId="2147470229"/>
            <ac:spMk id="13" creationId="{8A12B0CE-36B3-46FB-A346-27532C25E836}"/>
          </ac:spMkLst>
        </pc:spChg>
        <pc:spChg chg="mod ord">
          <ac:chgData name="Shreya Srivastava" userId="ae82a41d27ee62d3" providerId="LiveId" clId="{2CA4E358-3854-442B-AAC2-1A834E6A9EBE}" dt="2024-06-19T20:21:15.958" v="4743" actId="1076"/>
          <ac:spMkLst>
            <pc:docMk/>
            <pc:sldMk cId="281258832" sldId="2147470229"/>
            <ac:spMk id="15" creationId="{BAA2C33B-1C29-45CC-8A2B-10BB3E01E49A}"/>
          </ac:spMkLst>
        </pc:spChg>
        <pc:spChg chg="mod">
          <ac:chgData name="Shreya Srivastava" userId="ae82a41d27ee62d3" providerId="LiveId" clId="{2CA4E358-3854-442B-AAC2-1A834E6A9EBE}" dt="2024-06-19T11:03:10.608" v="4046" actId="164"/>
          <ac:spMkLst>
            <pc:docMk/>
            <pc:sldMk cId="281258832" sldId="2147470229"/>
            <ac:spMk id="16" creationId="{2F92CDBD-3504-4833-AB9E-C84F065ACD1E}"/>
          </ac:spMkLst>
        </pc:spChg>
        <pc:spChg chg="mod">
          <ac:chgData name="Shreya Srivastava" userId="ae82a41d27ee62d3" providerId="LiveId" clId="{2CA4E358-3854-442B-AAC2-1A834E6A9EBE}" dt="2024-06-19T11:03:10.608" v="4046" actId="164"/>
          <ac:spMkLst>
            <pc:docMk/>
            <pc:sldMk cId="281258832" sldId="2147470229"/>
            <ac:spMk id="17" creationId="{37F9A40D-C87A-4718-8FAD-F6B6D50336F4}"/>
          </ac:spMkLst>
        </pc:spChg>
        <pc:spChg chg="mod ord">
          <ac:chgData name="Shreya Srivastava" userId="ae82a41d27ee62d3" providerId="LiveId" clId="{2CA4E358-3854-442B-AAC2-1A834E6A9EBE}" dt="2024-06-19T11:03:10.608" v="4046" actId="164"/>
          <ac:spMkLst>
            <pc:docMk/>
            <pc:sldMk cId="281258832" sldId="2147470229"/>
            <ac:spMk id="18" creationId="{A2914E6D-8814-4B40-868A-CCF8962D511C}"/>
          </ac:spMkLst>
        </pc:spChg>
        <pc:spChg chg="add mod">
          <ac:chgData name="Shreya Srivastava" userId="ae82a41d27ee62d3" providerId="LiveId" clId="{2CA4E358-3854-442B-AAC2-1A834E6A9EBE}" dt="2024-06-19T20:26:14.343" v="4750" actId="1038"/>
          <ac:spMkLst>
            <pc:docMk/>
            <pc:sldMk cId="281258832" sldId="2147470229"/>
            <ac:spMk id="20" creationId="{141D6F24-D0D9-EB63-F5AC-948EFEDF5A47}"/>
          </ac:spMkLst>
        </pc:spChg>
        <pc:spChg chg="mod">
          <ac:chgData name="Shreya Srivastava" userId="ae82a41d27ee62d3" providerId="LiveId" clId="{2CA4E358-3854-442B-AAC2-1A834E6A9EBE}" dt="2024-06-19T20:21:31.117" v="4744" actId="2711"/>
          <ac:spMkLst>
            <pc:docMk/>
            <pc:sldMk cId="281258832" sldId="2147470229"/>
            <ac:spMk id="23" creationId="{7BBEC742-179D-47BF-898F-A979CB031A45}"/>
          </ac:spMkLst>
        </pc:spChg>
        <pc:spChg chg="mod">
          <ac:chgData name="Shreya Srivastava" userId="ae82a41d27ee62d3" providerId="LiveId" clId="{2CA4E358-3854-442B-AAC2-1A834E6A9EBE}" dt="2024-06-19T20:21:36.029" v="4745" actId="2711"/>
          <ac:spMkLst>
            <pc:docMk/>
            <pc:sldMk cId="281258832" sldId="2147470229"/>
            <ac:spMk id="24" creationId="{BB00B2C1-0E3B-44E6-83C3-DD425DA10750}"/>
          </ac:spMkLst>
        </pc:spChg>
        <pc:spChg chg="mod">
          <ac:chgData name="Shreya Srivastava" userId="ae82a41d27ee62d3" providerId="LiveId" clId="{2CA4E358-3854-442B-AAC2-1A834E6A9EBE}" dt="2024-06-19T20:21:53.152" v="4748" actId="1076"/>
          <ac:spMkLst>
            <pc:docMk/>
            <pc:sldMk cId="281258832" sldId="2147470229"/>
            <ac:spMk id="25" creationId="{8166A2F1-DBED-4CBA-B7AE-AC548EF850B7}"/>
          </ac:spMkLst>
        </pc:spChg>
        <pc:spChg chg="mod">
          <ac:chgData name="Shreya Srivastava" userId="ae82a41d27ee62d3" providerId="LiveId" clId="{2CA4E358-3854-442B-AAC2-1A834E6A9EBE}" dt="2024-06-19T20:23:44.383" v="4749" actId="313"/>
          <ac:spMkLst>
            <pc:docMk/>
            <pc:sldMk cId="281258832" sldId="2147470229"/>
            <ac:spMk id="26" creationId="{6EC28CDE-3D8F-4F5B-91D8-C84347C03A31}"/>
          </ac:spMkLst>
        </pc:spChg>
        <pc:spChg chg="del">
          <ac:chgData name="Shreya Srivastava" userId="ae82a41d27ee62d3" providerId="LiveId" clId="{2CA4E358-3854-442B-AAC2-1A834E6A9EBE}" dt="2024-06-19T10:42:59.358" v="3206" actId="478"/>
          <ac:spMkLst>
            <pc:docMk/>
            <pc:sldMk cId="281258832" sldId="2147470229"/>
            <ac:spMk id="31" creationId="{918D200D-F5AE-4342-9183-421C5AB3F7C9}"/>
          </ac:spMkLst>
        </pc:spChg>
        <pc:grpChg chg="add mod">
          <ac:chgData name="Shreya Srivastava" userId="ae82a41d27ee62d3" providerId="LiveId" clId="{2CA4E358-3854-442B-AAC2-1A834E6A9EBE}" dt="2024-06-19T11:03:10.608" v="4046" actId="164"/>
          <ac:grpSpMkLst>
            <pc:docMk/>
            <pc:sldMk cId="281258832" sldId="2147470229"/>
            <ac:grpSpMk id="10" creationId="{C568C1DE-E45F-7F17-AB12-017AE73D1514}"/>
          </ac:grpSpMkLst>
        </pc:grpChg>
        <pc:grpChg chg="add mod">
          <ac:chgData name="Shreya Srivastava" userId="ae82a41d27ee62d3" providerId="LiveId" clId="{2CA4E358-3854-442B-AAC2-1A834E6A9EBE}" dt="2024-06-19T20:18:56.993" v="4600" actId="14100"/>
          <ac:grpSpMkLst>
            <pc:docMk/>
            <pc:sldMk cId="281258832" sldId="2147470229"/>
            <ac:grpSpMk id="19" creationId="{05054030-4041-E133-B9EE-8816B5D8AF0B}"/>
          </ac:grpSpMkLst>
        </pc:grpChg>
      </pc:sldChg>
      <pc:sldChg chg="addSp delSp modSp add del mod">
        <pc:chgData name="Shreya Srivastava" userId="ae82a41d27ee62d3" providerId="LiveId" clId="{2CA4E358-3854-442B-AAC2-1A834E6A9EBE}" dt="2024-06-19T09:35:43.562" v="2712" actId="47"/>
        <pc:sldMkLst>
          <pc:docMk/>
          <pc:sldMk cId="2666665740" sldId="2147470238"/>
        </pc:sldMkLst>
        <pc:spChg chg="del">
          <ac:chgData name="Shreya Srivastava" userId="ae82a41d27ee62d3" providerId="LiveId" clId="{2CA4E358-3854-442B-AAC2-1A834E6A9EBE}" dt="2024-06-19T09:33:31.259" v="2679" actId="478"/>
          <ac:spMkLst>
            <pc:docMk/>
            <pc:sldMk cId="2666665740" sldId="2147470238"/>
            <ac:spMk id="2" creationId="{8FDCA4B0-A46C-430C-A4CD-1C3585345A9D}"/>
          </ac:spMkLst>
        </pc:spChg>
        <pc:spChg chg="add del mod">
          <ac:chgData name="Shreya Srivastava" userId="ae82a41d27ee62d3" providerId="LiveId" clId="{2CA4E358-3854-442B-AAC2-1A834E6A9EBE}" dt="2024-06-19T09:33:35.845" v="2680" actId="478"/>
          <ac:spMkLst>
            <pc:docMk/>
            <pc:sldMk cId="2666665740" sldId="2147470238"/>
            <ac:spMk id="4" creationId="{F11F4010-557A-BF27-688A-9E4D0126D128}"/>
          </ac:spMkLst>
        </pc:spChg>
        <pc:spChg chg="mod">
          <ac:chgData name="Shreya Srivastava" userId="ae82a41d27ee62d3" providerId="LiveId" clId="{2CA4E358-3854-442B-AAC2-1A834E6A9EBE}" dt="2024-06-19T09:34:46.860" v="2695" actId="20577"/>
          <ac:spMkLst>
            <pc:docMk/>
            <pc:sldMk cId="2666665740" sldId="2147470238"/>
            <ac:spMk id="63" creationId="{4C8CB29B-C9E5-495B-9879-57688A0FB778}"/>
          </ac:spMkLst>
        </pc:spChg>
        <pc:spChg chg="mod">
          <ac:chgData name="Shreya Srivastava" userId="ae82a41d27ee62d3" providerId="LiveId" clId="{2CA4E358-3854-442B-AAC2-1A834E6A9EBE}" dt="2024-06-19T09:34:51.284" v="2701" actId="20577"/>
          <ac:spMkLst>
            <pc:docMk/>
            <pc:sldMk cId="2666665740" sldId="2147470238"/>
            <ac:spMk id="73" creationId="{DC8B453B-EC22-45DA-B01F-ADEBB6CC6B70}"/>
          </ac:spMkLst>
        </pc:spChg>
        <pc:spChg chg="mod">
          <ac:chgData name="Shreya Srivastava" userId="ae82a41d27ee62d3" providerId="LiveId" clId="{2CA4E358-3854-442B-AAC2-1A834E6A9EBE}" dt="2024-06-19T09:34:57.841" v="2710" actId="20577"/>
          <ac:spMkLst>
            <pc:docMk/>
            <pc:sldMk cId="2666665740" sldId="2147470238"/>
            <ac:spMk id="74" creationId="{B7C8EE76-5CC2-4A37-B47A-B7523A35F93F}"/>
          </ac:spMkLst>
        </pc:spChg>
        <pc:graphicFrameChg chg="mod">
          <ac:chgData name="Shreya Srivastava" userId="ae82a41d27ee62d3" providerId="LiveId" clId="{2CA4E358-3854-442B-AAC2-1A834E6A9EBE}" dt="2024-06-19T09:34:10.783" v="2689" actId="14100"/>
          <ac:graphicFrameMkLst>
            <pc:docMk/>
            <pc:sldMk cId="2666665740" sldId="2147470238"/>
            <ac:graphicFrameMk id="65" creationId="{93604E2C-F666-4DF8-A8EB-83DB5F103102}"/>
          </ac:graphicFrameMkLst>
        </pc:graphicFrameChg>
        <pc:picChg chg="del">
          <ac:chgData name="Shreya Srivastava" userId="ae82a41d27ee62d3" providerId="LiveId" clId="{2CA4E358-3854-442B-AAC2-1A834E6A9EBE}" dt="2024-06-19T09:33:44.035" v="2681" actId="478"/>
          <ac:picMkLst>
            <pc:docMk/>
            <pc:sldMk cId="2666665740" sldId="2147470238"/>
            <ac:picMk id="71" creationId="{6F87BBA3-3985-478F-A6A3-03B540CB60FA}"/>
          </ac:picMkLst>
        </pc:picChg>
        <pc:picChg chg="del">
          <ac:chgData name="Shreya Srivastava" userId="ae82a41d27ee62d3" providerId="LiveId" clId="{2CA4E358-3854-442B-AAC2-1A834E6A9EBE}" dt="2024-06-19T09:33:48.836" v="2683" actId="478"/>
          <ac:picMkLst>
            <pc:docMk/>
            <pc:sldMk cId="2666665740" sldId="2147470238"/>
            <ac:picMk id="72" creationId="{B29BAD8B-1185-4C89-B0D1-7E122FEF8C8B}"/>
          </ac:picMkLst>
        </pc:picChg>
        <pc:picChg chg="del">
          <ac:chgData name="Shreya Srivastava" userId="ae82a41d27ee62d3" providerId="LiveId" clId="{2CA4E358-3854-442B-AAC2-1A834E6A9EBE}" dt="2024-06-19T09:33:55.400" v="2685" actId="478"/>
          <ac:picMkLst>
            <pc:docMk/>
            <pc:sldMk cId="2666665740" sldId="2147470238"/>
            <ac:picMk id="306" creationId="{4DD2CFB8-A9FF-474F-BF33-9653EAC433C0}"/>
          </ac:picMkLst>
        </pc:picChg>
        <pc:picChg chg="del">
          <ac:chgData name="Shreya Srivastava" userId="ae82a41d27ee62d3" providerId="LiveId" clId="{2CA4E358-3854-442B-AAC2-1A834E6A9EBE}" dt="2024-06-19T09:33:46.583" v="2682" actId="478"/>
          <ac:picMkLst>
            <pc:docMk/>
            <pc:sldMk cId="2666665740" sldId="2147470238"/>
            <ac:picMk id="309" creationId="{39958833-1781-487C-9315-43759A33C545}"/>
          </ac:picMkLst>
        </pc:picChg>
        <pc:picChg chg="del">
          <ac:chgData name="Shreya Srivastava" userId="ae82a41d27ee62d3" providerId="LiveId" clId="{2CA4E358-3854-442B-AAC2-1A834E6A9EBE}" dt="2024-06-19T09:33:51.084" v="2684" actId="478"/>
          <ac:picMkLst>
            <pc:docMk/>
            <pc:sldMk cId="2666665740" sldId="2147470238"/>
            <ac:picMk id="310" creationId="{E43BC639-8BB7-4418-95E5-E0AA26E5FB76}"/>
          </ac:picMkLst>
        </pc:picChg>
      </pc:sldChg>
      <pc:sldChg chg="addSp delSp modSp add mod">
        <pc:chgData name="Shreya Srivastava" userId="ae82a41d27ee62d3" providerId="LiveId" clId="{2CA4E358-3854-442B-AAC2-1A834E6A9EBE}" dt="2024-06-19T20:52:08.533" v="4802" actId="20577"/>
        <pc:sldMkLst>
          <pc:docMk/>
          <pc:sldMk cId="3032591016" sldId="2147470397"/>
        </pc:sldMkLst>
        <pc:spChg chg="mod">
          <ac:chgData name="Shreya Srivastava" userId="ae82a41d27ee62d3" providerId="LiveId" clId="{2CA4E358-3854-442B-AAC2-1A834E6A9EBE}" dt="2024-06-19T09:54:50.543" v="2950" actId="2710"/>
          <ac:spMkLst>
            <pc:docMk/>
            <pc:sldMk cId="3032591016" sldId="2147470397"/>
            <ac:spMk id="7" creationId="{05D1FA40-1F33-44C3-B8B9-DB801A999095}"/>
          </ac:spMkLst>
        </pc:spChg>
        <pc:spChg chg="mod">
          <ac:chgData name="Shreya Srivastava" userId="ae82a41d27ee62d3" providerId="LiveId" clId="{2CA4E358-3854-442B-AAC2-1A834E6A9EBE}" dt="2024-06-19T09:51:46.526" v="2923" actId="164"/>
          <ac:spMkLst>
            <pc:docMk/>
            <pc:sldMk cId="3032591016" sldId="2147470397"/>
            <ac:spMk id="10" creationId="{B2D74BD5-3EC1-45ED-9079-709035ACC1A5}"/>
          </ac:spMkLst>
        </pc:spChg>
        <pc:spChg chg="mod">
          <ac:chgData name="Shreya Srivastava" userId="ae82a41d27ee62d3" providerId="LiveId" clId="{2CA4E358-3854-442B-AAC2-1A834E6A9EBE}" dt="2024-06-19T09:52:32.902" v="2926" actId="6549"/>
          <ac:spMkLst>
            <pc:docMk/>
            <pc:sldMk cId="3032591016" sldId="2147470397"/>
            <ac:spMk id="16" creationId="{67540792-477A-47AA-BFE5-9A53A720F7AD}"/>
          </ac:spMkLst>
        </pc:spChg>
        <pc:spChg chg="mod">
          <ac:chgData name="Shreya Srivastava" userId="ae82a41d27ee62d3" providerId="LiveId" clId="{2CA4E358-3854-442B-AAC2-1A834E6A9EBE}" dt="2024-06-19T09:51:29.887" v="2921" actId="164"/>
          <ac:spMkLst>
            <pc:docMk/>
            <pc:sldMk cId="3032591016" sldId="2147470397"/>
            <ac:spMk id="24" creationId="{7109C86C-3530-4F60-9076-A3C7796C0506}"/>
          </ac:spMkLst>
        </pc:spChg>
        <pc:spChg chg="mod">
          <ac:chgData name="Shreya Srivastava" userId="ae82a41d27ee62d3" providerId="LiveId" clId="{2CA4E358-3854-442B-AAC2-1A834E6A9EBE}" dt="2024-06-19T09:51:29.887" v="2921" actId="164"/>
          <ac:spMkLst>
            <pc:docMk/>
            <pc:sldMk cId="3032591016" sldId="2147470397"/>
            <ac:spMk id="25" creationId="{9F361626-3B4F-41ED-AE0D-99CA1C5DEC90}"/>
          </ac:spMkLst>
        </pc:spChg>
        <pc:spChg chg="mod">
          <ac:chgData name="Shreya Srivastava" userId="ae82a41d27ee62d3" providerId="LiveId" clId="{2CA4E358-3854-442B-AAC2-1A834E6A9EBE}" dt="2024-06-19T09:51:29.887" v="2921" actId="164"/>
          <ac:spMkLst>
            <pc:docMk/>
            <pc:sldMk cId="3032591016" sldId="2147470397"/>
            <ac:spMk id="26" creationId="{050725C8-BEFC-4A37-BEA9-A9DBFB667ED0}"/>
          </ac:spMkLst>
        </pc:spChg>
        <pc:spChg chg="mod">
          <ac:chgData name="Shreya Srivastava" userId="ae82a41d27ee62d3" providerId="LiveId" clId="{2CA4E358-3854-442B-AAC2-1A834E6A9EBE}" dt="2024-06-19T09:50:55.022" v="2912" actId="164"/>
          <ac:spMkLst>
            <pc:docMk/>
            <pc:sldMk cId="3032591016" sldId="2147470397"/>
            <ac:spMk id="28" creationId="{70F7850D-4FDE-4FB4-9FBC-BF3A7E75EF03}"/>
          </ac:spMkLst>
        </pc:spChg>
        <pc:spChg chg="mod">
          <ac:chgData name="Shreya Srivastava" userId="ae82a41d27ee62d3" providerId="LiveId" clId="{2CA4E358-3854-442B-AAC2-1A834E6A9EBE}" dt="2024-06-19T09:50:55.022" v="2912" actId="164"/>
          <ac:spMkLst>
            <pc:docMk/>
            <pc:sldMk cId="3032591016" sldId="2147470397"/>
            <ac:spMk id="29" creationId="{F001D6D7-DE66-42D4-A315-48C68BE8F04C}"/>
          </ac:spMkLst>
        </pc:spChg>
        <pc:spChg chg="mod">
          <ac:chgData name="Shreya Srivastava" userId="ae82a41d27ee62d3" providerId="LiveId" clId="{2CA4E358-3854-442B-AAC2-1A834E6A9EBE}" dt="2024-06-19T09:51:21.953" v="2919" actId="6549"/>
          <ac:spMkLst>
            <pc:docMk/>
            <pc:sldMk cId="3032591016" sldId="2147470397"/>
            <ac:spMk id="30" creationId="{72444B23-712B-465C-93D1-6AFAE9AED4E0}"/>
          </ac:spMkLst>
        </pc:spChg>
        <pc:spChg chg="mod">
          <ac:chgData name="Shreya Srivastava" userId="ae82a41d27ee62d3" providerId="LiveId" clId="{2CA4E358-3854-442B-AAC2-1A834E6A9EBE}" dt="2024-06-19T20:52:08.533" v="4802" actId="20577"/>
          <ac:spMkLst>
            <pc:docMk/>
            <pc:sldMk cId="3032591016" sldId="2147470397"/>
            <ac:spMk id="33" creationId="{2FCC88CC-0E74-4308-B8CD-BD03BC4A50E8}"/>
          </ac:spMkLst>
        </pc:spChg>
        <pc:grpChg chg="add del mod">
          <ac:chgData name="Shreya Srivastava" userId="ae82a41d27ee62d3" providerId="LiveId" clId="{2CA4E358-3854-442B-AAC2-1A834E6A9EBE}" dt="2024-06-19T09:51:25.152" v="2920" actId="478"/>
          <ac:grpSpMkLst>
            <pc:docMk/>
            <pc:sldMk cId="3032591016" sldId="2147470397"/>
            <ac:grpSpMk id="2" creationId="{D0385A2F-6036-462D-0B43-EE66A2EE5DFC}"/>
          </ac:grpSpMkLst>
        </pc:grpChg>
        <pc:grpChg chg="add del mod">
          <ac:chgData name="Shreya Srivastava" userId="ae82a41d27ee62d3" providerId="LiveId" clId="{2CA4E358-3854-442B-AAC2-1A834E6A9EBE}" dt="2024-06-19T09:53:38.132" v="2938" actId="21"/>
          <ac:grpSpMkLst>
            <pc:docMk/>
            <pc:sldMk cId="3032591016" sldId="2147470397"/>
            <ac:grpSpMk id="3" creationId="{F891ED1B-73C5-F8BA-9F27-E00023FE2A75}"/>
          </ac:grpSpMkLst>
        </pc:grpChg>
        <pc:grpChg chg="add mod">
          <ac:chgData name="Shreya Srivastava" userId="ae82a41d27ee62d3" providerId="LiveId" clId="{2CA4E358-3854-442B-AAC2-1A834E6A9EBE}" dt="2024-06-19T09:54:54.853" v="2951" actId="14100"/>
          <ac:grpSpMkLst>
            <pc:docMk/>
            <pc:sldMk cId="3032591016" sldId="2147470397"/>
            <ac:grpSpMk id="4" creationId="{D8907E5F-8C09-B437-456A-84CD680850E2}"/>
          </ac:grpSpMkLst>
        </pc:grpChg>
        <pc:picChg chg="add del mod">
          <ac:chgData name="Shreya Srivastava" userId="ae82a41d27ee62d3" providerId="LiveId" clId="{2CA4E358-3854-442B-AAC2-1A834E6A9EBE}" dt="2024-06-19T09:55:40.251" v="2956" actId="478"/>
          <ac:picMkLst>
            <pc:docMk/>
            <pc:sldMk cId="3032591016" sldId="2147470397"/>
            <ac:picMk id="5" creationId="{86AFC823-CB8C-82E6-9968-B30F1262532A}"/>
          </ac:picMkLst>
        </pc:picChg>
        <pc:picChg chg="add mod modCrop">
          <ac:chgData name="Shreya Srivastava" userId="ae82a41d27ee62d3" providerId="LiveId" clId="{2CA4E358-3854-442B-AAC2-1A834E6A9EBE}" dt="2024-06-19T10:12:53.045" v="3110" actId="732"/>
          <ac:picMkLst>
            <pc:docMk/>
            <pc:sldMk cId="3032591016" sldId="2147470397"/>
            <ac:picMk id="8" creationId="{8AF809FE-EDEC-5E94-7DFB-5F53D53670D3}"/>
          </ac:picMkLst>
        </pc:picChg>
      </pc:sldChg>
      <pc:sldChg chg="modSp new del mod">
        <pc:chgData name="Shreya Srivastava" userId="ae82a41d27ee62d3" providerId="LiveId" clId="{2CA4E358-3854-442B-AAC2-1A834E6A9EBE}" dt="2024-06-19T10:52:39.529" v="3689" actId="680"/>
        <pc:sldMkLst>
          <pc:docMk/>
          <pc:sldMk cId="2390158268" sldId="2147470398"/>
        </pc:sldMkLst>
        <pc:spChg chg="mod">
          <ac:chgData name="Shreya Srivastava" userId="ae82a41d27ee62d3" providerId="LiveId" clId="{2CA4E358-3854-442B-AAC2-1A834E6A9EBE}" dt="2024-06-19T10:52:39.107" v="3688" actId="20577"/>
          <ac:spMkLst>
            <pc:docMk/>
            <pc:sldMk cId="2390158268" sldId="2147470398"/>
            <ac:spMk id="2" creationId="{76FC31AB-2D27-AF3A-7C71-158BA2C58DA4}"/>
          </ac:spMkLst>
        </pc:spChg>
      </pc:sldChg>
      <pc:sldChg chg="addSp delSp modSp new mod">
        <pc:chgData name="Shreya Srivastava" userId="ae82a41d27ee62d3" providerId="LiveId" clId="{2CA4E358-3854-442B-AAC2-1A834E6A9EBE}" dt="2024-06-19T11:14:19.292" v="4244" actId="1076"/>
        <pc:sldMkLst>
          <pc:docMk/>
          <pc:sldMk cId="2392041329" sldId="2147470398"/>
        </pc:sldMkLst>
        <pc:spChg chg="del">
          <ac:chgData name="Shreya Srivastava" userId="ae82a41d27ee62d3" providerId="LiveId" clId="{2CA4E358-3854-442B-AAC2-1A834E6A9EBE}" dt="2024-06-19T10:54:59.063" v="3950" actId="478"/>
          <ac:spMkLst>
            <pc:docMk/>
            <pc:sldMk cId="2392041329" sldId="2147470398"/>
            <ac:spMk id="2" creationId="{B520BBC2-C31B-CD54-84E3-A6C2E1F3E010}"/>
          </ac:spMkLst>
        </pc:spChg>
        <pc:spChg chg="add mod">
          <ac:chgData name="Shreya Srivastava" userId="ae82a41d27ee62d3" providerId="LiveId" clId="{2CA4E358-3854-442B-AAC2-1A834E6A9EBE}" dt="2024-06-19T11:12:04.790" v="4220" actId="164"/>
          <ac:spMkLst>
            <pc:docMk/>
            <pc:sldMk cId="2392041329" sldId="2147470398"/>
            <ac:spMk id="3" creationId="{6DCE7209-FA1A-4FA3-FCA9-56E4A589931C}"/>
          </ac:spMkLst>
        </pc:spChg>
        <pc:spChg chg="add mod">
          <ac:chgData name="Shreya Srivastava" userId="ae82a41d27ee62d3" providerId="LiveId" clId="{2CA4E358-3854-442B-AAC2-1A834E6A9EBE}" dt="2024-06-19T11:10:51.677" v="4194" actId="164"/>
          <ac:spMkLst>
            <pc:docMk/>
            <pc:sldMk cId="2392041329" sldId="2147470398"/>
            <ac:spMk id="4" creationId="{12CC971F-C25E-A27D-5FB0-CF680872C8F2}"/>
          </ac:spMkLst>
        </pc:spChg>
        <pc:spChg chg="add del mod">
          <ac:chgData name="Shreya Srivastava" userId="ae82a41d27ee62d3" providerId="LiveId" clId="{2CA4E358-3854-442B-AAC2-1A834E6A9EBE}" dt="2024-06-19T11:05:14.667" v="4069" actId="164"/>
          <ac:spMkLst>
            <pc:docMk/>
            <pc:sldMk cId="2392041329" sldId="2147470398"/>
            <ac:spMk id="5" creationId="{79ECF36A-F636-3A47-0721-398E692B8790}"/>
          </ac:spMkLst>
        </pc:spChg>
        <pc:spChg chg="add mod">
          <ac:chgData name="Shreya Srivastava" userId="ae82a41d27ee62d3" providerId="LiveId" clId="{2CA4E358-3854-442B-AAC2-1A834E6A9EBE}" dt="2024-06-19T11:12:04.790" v="4220" actId="164"/>
          <ac:spMkLst>
            <pc:docMk/>
            <pc:sldMk cId="2392041329" sldId="2147470398"/>
            <ac:spMk id="6" creationId="{88B1C629-F9BA-40F1-A876-5062981E6A3B}"/>
          </ac:spMkLst>
        </pc:spChg>
        <pc:spChg chg="add mod">
          <ac:chgData name="Shreya Srivastava" userId="ae82a41d27ee62d3" providerId="LiveId" clId="{2CA4E358-3854-442B-AAC2-1A834E6A9EBE}" dt="2024-06-19T11:10:51.677" v="4194" actId="164"/>
          <ac:spMkLst>
            <pc:docMk/>
            <pc:sldMk cId="2392041329" sldId="2147470398"/>
            <ac:spMk id="7" creationId="{6C16D58E-0DF2-47B5-1CBA-784929D186FD}"/>
          </ac:spMkLst>
        </pc:spChg>
        <pc:spChg chg="add mod">
          <ac:chgData name="Shreya Srivastava" userId="ae82a41d27ee62d3" providerId="LiveId" clId="{2CA4E358-3854-442B-AAC2-1A834E6A9EBE}" dt="2024-06-19T11:05:14.667" v="4069" actId="164"/>
          <ac:spMkLst>
            <pc:docMk/>
            <pc:sldMk cId="2392041329" sldId="2147470398"/>
            <ac:spMk id="8" creationId="{3BC28743-1A90-8142-5D66-7F9EF3A96F73}"/>
          </ac:spMkLst>
        </pc:spChg>
        <pc:spChg chg="add mod">
          <ac:chgData name="Shreya Srivastava" userId="ae82a41d27ee62d3" providerId="LiveId" clId="{2CA4E358-3854-442B-AAC2-1A834E6A9EBE}" dt="2024-06-19T11:11:37.824" v="4214" actId="20577"/>
          <ac:spMkLst>
            <pc:docMk/>
            <pc:sldMk cId="2392041329" sldId="2147470398"/>
            <ac:spMk id="10" creationId="{BBA9614E-3D42-B2CD-CB34-512591C5C20A}"/>
          </ac:spMkLst>
        </pc:spChg>
        <pc:spChg chg="add mod">
          <ac:chgData name="Shreya Srivastava" userId="ae82a41d27ee62d3" providerId="LiveId" clId="{2CA4E358-3854-442B-AAC2-1A834E6A9EBE}" dt="2024-06-19T11:14:15.889" v="4243" actId="164"/>
          <ac:spMkLst>
            <pc:docMk/>
            <pc:sldMk cId="2392041329" sldId="2147470398"/>
            <ac:spMk id="14" creationId="{C29D551A-3C19-A472-8E7E-3D357D00C5F8}"/>
          </ac:spMkLst>
        </pc:spChg>
        <pc:grpChg chg="add del mod">
          <ac:chgData name="Shreya Srivastava" userId="ae82a41d27ee62d3" providerId="LiveId" clId="{2CA4E358-3854-442B-AAC2-1A834E6A9EBE}" dt="2024-06-19T11:05:16.801" v="4070" actId="21"/>
          <ac:grpSpMkLst>
            <pc:docMk/>
            <pc:sldMk cId="2392041329" sldId="2147470398"/>
            <ac:grpSpMk id="9" creationId="{717E2A70-3A02-0943-22FC-B5F4FC781CD9}"/>
          </ac:grpSpMkLst>
        </pc:grpChg>
        <pc:grpChg chg="add mod">
          <ac:chgData name="Shreya Srivastava" userId="ae82a41d27ee62d3" providerId="LiveId" clId="{2CA4E358-3854-442B-AAC2-1A834E6A9EBE}" dt="2024-06-19T11:14:00.653" v="4239" actId="1076"/>
          <ac:grpSpMkLst>
            <pc:docMk/>
            <pc:sldMk cId="2392041329" sldId="2147470398"/>
            <ac:grpSpMk id="11" creationId="{0DF96A39-53B4-4007-8072-4A8BB7812674}"/>
          </ac:grpSpMkLst>
        </pc:grpChg>
        <pc:grpChg chg="add mod">
          <ac:chgData name="Shreya Srivastava" userId="ae82a41d27ee62d3" providerId="LiveId" clId="{2CA4E358-3854-442B-AAC2-1A834E6A9EBE}" dt="2024-06-19T11:14:15.889" v="4243" actId="164"/>
          <ac:grpSpMkLst>
            <pc:docMk/>
            <pc:sldMk cId="2392041329" sldId="2147470398"/>
            <ac:grpSpMk id="12" creationId="{EE60F7CE-726A-3A8E-1095-43262D60624D}"/>
          </ac:grpSpMkLst>
        </pc:grpChg>
        <pc:grpChg chg="add mod">
          <ac:chgData name="Shreya Srivastava" userId="ae82a41d27ee62d3" providerId="LiveId" clId="{2CA4E358-3854-442B-AAC2-1A834E6A9EBE}" dt="2024-06-19T11:14:19.292" v="4244" actId="1076"/>
          <ac:grpSpMkLst>
            <pc:docMk/>
            <pc:sldMk cId="2392041329" sldId="2147470398"/>
            <ac:grpSpMk id="16" creationId="{805AA807-9623-745B-D765-F01A088C95DC}"/>
          </ac:grpSpMkLst>
        </pc:grpChg>
        <pc:picChg chg="add mod">
          <ac:chgData name="Shreya Srivastava" userId="ae82a41d27ee62d3" providerId="LiveId" clId="{2CA4E358-3854-442B-AAC2-1A834E6A9EBE}" dt="2024-06-19T11:14:08.569" v="4242" actId="14100"/>
          <ac:picMkLst>
            <pc:docMk/>
            <pc:sldMk cId="2392041329" sldId="2147470398"/>
            <ac:picMk id="15" creationId="{DF55FA0A-DEDB-3C45-7004-FCC9513BF578}"/>
          </ac:picMkLst>
        </pc:picChg>
      </pc:sldChg>
      <pc:sldChg chg="addSp delSp modSp new mod">
        <pc:chgData name="Shreya Srivastava" userId="ae82a41d27ee62d3" providerId="LiveId" clId="{2CA4E358-3854-442B-AAC2-1A834E6A9EBE}" dt="2024-06-19T20:50:41.694" v="4754" actId="123"/>
        <pc:sldMkLst>
          <pc:docMk/>
          <pc:sldMk cId="529271883" sldId="2147470399"/>
        </pc:sldMkLst>
        <pc:spChg chg="del">
          <ac:chgData name="Shreya Srivastava" userId="ae82a41d27ee62d3" providerId="LiveId" clId="{2CA4E358-3854-442B-AAC2-1A834E6A9EBE}" dt="2024-06-19T10:57:24.942" v="3998" actId="478"/>
          <ac:spMkLst>
            <pc:docMk/>
            <pc:sldMk cId="529271883" sldId="2147470399"/>
            <ac:spMk id="2" creationId="{F83365D5-BC71-5627-DA6F-F3CC96F880BB}"/>
          </ac:spMkLst>
        </pc:spChg>
        <pc:spChg chg="add del mod">
          <ac:chgData name="Shreya Srivastava" userId="ae82a41d27ee62d3" providerId="LiveId" clId="{2CA4E358-3854-442B-AAC2-1A834E6A9EBE}" dt="2024-06-19T11:28:12.392" v="4507" actId="478"/>
          <ac:spMkLst>
            <pc:docMk/>
            <pc:sldMk cId="529271883" sldId="2147470399"/>
            <ac:spMk id="3" creationId="{915ED014-F22C-9B42-6F03-32775743DF08}"/>
          </ac:spMkLst>
        </pc:spChg>
        <pc:spChg chg="add del mod">
          <ac:chgData name="Shreya Srivastava" userId="ae82a41d27ee62d3" providerId="LiveId" clId="{2CA4E358-3854-442B-AAC2-1A834E6A9EBE}" dt="2024-06-19T11:19:09.308" v="4286" actId="478"/>
          <ac:spMkLst>
            <pc:docMk/>
            <pc:sldMk cId="529271883" sldId="2147470399"/>
            <ac:spMk id="4" creationId="{58B46325-A848-1DA6-4459-D83345EE0400}"/>
          </ac:spMkLst>
        </pc:spChg>
        <pc:spChg chg="add mod">
          <ac:chgData name="Shreya Srivastava" userId="ae82a41d27ee62d3" providerId="LiveId" clId="{2CA4E358-3854-442B-AAC2-1A834E6A9EBE}" dt="2024-06-19T20:50:41.694" v="4754" actId="123"/>
          <ac:spMkLst>
            <pc:docMk/>
            <pc:sldMk cId="529271883" sldId="2147470399"/>
            <ac:spMk id="7" creationId="{8F09173E-B270-1425-9DE6-C1EC5D11774B}"/>
          </ac:spMkLst>
        </pc:spChg>
        <pc:spChg chg="add mod">
          <ac:chgData name="Shreya Srivastava" userId="ae82a41d27ee62d3" providerId="LiveId" clId="{2CA4E358-3854-442B-AAC2-1A834E6A9EBE}" dt="2024-06-19T11:30:52.383" v="4573" actId="403"/>
          <ac:spMkLst>
            <pc:docMk/>
            <pc:sldMk cId="529271883" sldId="2147470399"/>
            <ac:spMk id="8" creationId="{6FE71789-D914-7B7E-FDB2-A8C683E3924B}"/>
          </ac:spMkLst>
        </pc:spChg>
        <pc:picChg chg="add mod">
          <ac:chgData name="Shreya Srivastava" userId="ae82a41d27ee62d3" providerId="LiveId" clId="{2CA4E358-3854-442B-AAC2-1A834E6A9EBE}" dt="2024-06-19T11:29:36.372" v="4510" actId="14100"/>
          <ac:picMkLst>
            <pc:docMk/>
            <pc:sldMk cId="529271883" sldId="2147470399"/>
            <ac:picMk id="6" creationId="{79DC2219-619D-E6FF-40E9-0BBB983C17AA}"/>
          </ac:picMkLst>
        </pc:picChg>
      </pc:sldChg>
      <pc:sldChg chg="addSp delSp modSp new mod">
        <pc:chgData name="Shreya Srivastava" userId="ae82a41d27ee62d3" providerId="LiveId" clId="{2CA4E358-3854-442B-AAC2-1A834E6A9EBE}" dt="2024-06-19T18:58:40.370" v="4598" actId="1076"/>
        <pc:sldMkLst>
          <pc:docMk/>
          <pc:sldMk cId="4201667193" sldId="2147470400"/>
        </pc:sldMkLst>
        <pc:spChg chg="del">
          <ac:chgData name="Shreya Srivastava" userId="ae82a41d27ee62d3" providerId="LiveId" clId="{2CA4E358-3854-442B-AAC2-1A834E6A9EBE}" dt="2024-06-19T11:05:27.682" v="4072" actId="478"/>
          <ac:spMkLst>
            <pc:docMk/>
            <pc:sldMk cId="4201667193" sldId="2147470400"/>
            <ac:spMk id="2" creationId="{529AC079-BE7D-E87E-E645-1D37A093ABBE}"/>
          </ac:spMkLst>
        </pc:spChg>
        <pc:spChg chg="mod">
          <ac:chgData name="Shreya Srivastava" userId="ae82a41d27ee62d3" providerId="LiveId" clId="{2CA4E358-3854-442B-AAC2-1A834E6A9EBE}" dt="2024-06-19T18:58:20.905" v="4595" actId="14100"/>
          <ac:spMkLst>
            <pc:docMk/>
            <pc:sldMk cId="4201667193" sldId="2147470400"/>
            <ac:spMk id="4" creationId="{8F180EE4-7D7F-31E0-2B6D-531166214463}"/>
          </ac:spMkLst>
        </pc:spChg>
        <pc:spChg chg="mod">
          <ac:chgData name="Shreya Srivastava" userId="ae82a41d27ee62d3" providerId="LiveId" clId="{2CA4E358-3854-442B-AAC2-1A834E6A9EBE}" dt="2024-06-19T11:05:31.090" v="4073"/>
          <ac:spMkLst>
            <pc:docMk/>
            <pc:sldMk cId="4201667193" sldId="2147470400"/>
            <ac:spMk id="5" creationId="{BA9DF8CE-16F9-03C4-5924-F975853F6403}"/>
          </ac:spMkLst>
        </pc:spChg>
        <pc:spChg chg="mod">
          <ac:chgData name="Shreya Srivastava" userId="ae82a41d27ee62d3" providerId="LiveId" clId="{2CA4E358-3854-442B-AAC2-1A834E6A9EBE}" dt="2024-06-19T18:58:27.248" v="4596" actId="1076"/>
          <ac:spMkLst>
            <pc:docMk/>
            <pc:sldMk cId="4201667193" sldId="2147470400"/>
            <ac:spMk id="7" creationId="{65F3B418-C9E6-4E43-AA32-97A6BD2328DC}"/>
          </ac:spMkLst>
        </pc:spChg>
        <pc:spChg chg="mod">
          <ac:chgData name="Shreya Srivastava" userId="ae82a41d27ee62d3" providerId="LiveId" clId="{2CA4E358-3854-442B-AAC2-1A834E6A9EBE}" dt="2024-06-19T11:06:40.186" v="4119" actId="1076"/>
          <ac:spMkLst>
            <pc:docMk/>
            <pc:sldMk cId="4201667193" sldId="2147470400"/>
            <ac:spMk id="8" creationId="{048F8921-11E4-3A63-DB58-2C88F2576A4F}"/>
          </ac:spMkLst>
        </pc:spChg>
        <pc:spChg chg="add mod">
          <ac:chgData name="Shreya Srivastava" userId="ae82a41d27ee62d3" providerId="LiveId" clId="{2CA4E358-3854-442B-AAC2-1A834E6A9EBE}" dt="2024-06-19T11:15:20.575" v="4262" actId="164"/>
          <ac:spMkLst>
            <pc:docMk/>
            <pc:sldMk cId="4201667193" sldId="2147470400"/>
            <ac:spMk id="9" creationId="{BE4BE496-C0B4-299E-E8BB-541E205DA2A5}"/>
          </ac:spMkLst>
        </pc:spChg>
        <pc:grpChg chg="add mod">
          <ac:chgData name="Shreya Srivastava" userId="ae82a41d27ee62d3" providerId="LiveId" clId="{2CA4E358-3854-442B-AAC2-1A834E6A9EBE}" dt="2024-06-19T18:58:40.370" v="4598" actId="1076"/>
          <ac:grpSpMkLst>
            <pc:docMk/>
            <pc:sldMk cId="4201667193" sldId="2147470400"/>
            <ac:grpSpMk id="3" creationId="{A1B402AD-3109-7BC9-7243-0545CAB35C52}"/>
          </ac:grpSpMkLst>
        </pc:grpChg>
        <pc:grpChg chg="add mod">
          <ac:chgData name="Shreya Srivastava" userId="ae82a41d27ee62d3" providerId="LiveId" clId="{2CA4E358-3854-442B-AAC2-1A834E6A9EBE}" dt="2024-06-19T11:15:20.575" v="4262" actId="164"/>
          <ac:grpSpMkLst>
            <pc:docMk/>
            <pc:sldMk cId="4201667193" sldId="2147470400"/>
            <ac:grpSpMk id="6" creationId="{0C59E56A-72BA-726B-23E9-F929E918943E}"/>
          </ac:grpSpMkLst>
        </pc:grpChg>
        <pc:grpChg chg="add mod">
          <ac:chgData name="Shreya Srivastava" userId="ae82a41d27ee62d3" providerId="LiveId" clId="{2CA4E358-3854-442B-AAC2-1A834E6A9EBE}" dt="2024-06-19T18:58:37.378" v="4597" actId="1076"/>
          <ac:grpSpMkLst>
            <pc:docMk/>
            <pc:sldMk cId="4201667193" sldId="2147470400"/>
            <ac:grpSpMk id="10" creationId="{C9656286-E798-5A79-7273-D4DC2F43605B}"/>
          </ac:grpSpMkLst>
        </pc:grpChg>
        <pc:picChg chg="add del mod">
          <ac:chgData name="Shreya Srivastava" userId="ae82a41d27ee62d3" providerId="LiveId" clId="{2CA4E358-3854-442B-AAC2-1A834E6A9EBE}" dt="2024-06-19T18:58:09.271" v="4594" actId="21"/>
          <ac:picMkLst>
            <pc:docMk/>
            <pc:sldMk cId="4201667193" sldId="2147470400"/>
            <ac:picMk id="2" creationId="{5536881B-45F1-DD93-4023-65ACB9F1649F}"/>
          </ac:picMkLst>
        </pc:picChg>
      </pc:sldChg>
      <pc:sldChg chg="modSp new mod">
        <pc:chgData name="Shreya Srivastava" userId="ae82a41d27ee62d3" providerId="LiveId" clId="{2CA4E358-3854-442B-AAC2-1A834E6A9EBE}" dt="2024-06-19T21:38:30.678" v="5350" actId="27636"/>
        <pc:sldMkLst>
          <pc:docMk/>
          <pc:sldMk cId="1750631448" sldId="2147470401"/>
        </pc:sldMkLst>
        <pc:spChg chg="mod">
          <ac:chgData name="Shreya Srivastava" userId="ae82a41d27ee62d3" providerId="LiveId" clId="{2CA4E358-3854-442B-AAC2-1A834E6A9EBE}" dt="2024-06-19T21:11:04.367" v="5232" actId="404"/>
          <ac:spMkLst>
            <pc:docMk/>
            <pc:sldMk cId="1750631448" sldId="2147470401"/>
            <ac:spMk id="2" creationId="{A0B9A331-CB5D-38EA-F5E9-D6933E8D1DA3}"/>
          </ac:spMkLst>
        </pc:spChg>
        <pc:spChg chg="mod">
          <ac:chgData name="Shreya Srivastava" userId="ae82a41d27ee62d3" providerId="LiveId" clId="{2CA4E358-3854-442B-AAC2-1A834E6A9EBE}" dt="2024-06-19T21:38:30.678" v="5350" actId="27636"/>
          <ac:spMkLst>
            <pc:docMk/>
            <pc:sldMk cId="1750631448" sldId="2147470401"/>
            <ac:spMk id="3" creationId="{ECA8FEA2-060D-5C0B-FB05-72868EBC76A2}"/>
          </ac:spMkLst>
        </pc:spChg>
      </pc:sldChg>
      <pc:sldChg chg="addSp delSp modSp new mod">
        <pc:chgData name="Shreya Srivastava" userId="ae82a41d27ee62d3" providerId="LiveId" clId="{2CA4E358-3854-442B-AAC2-1A834E6A9EBE}" dt="2024-06-19T21:17:02.103" v="5266" actId="20577"/>
        <pc:sldMkLst>
          <pc:docMk/>
          <pc:sldMk cId="1290330047" sldId="2147470402"/>
        </pc:sldMkLst>
        <pc:spChg chg="mod">
          <ac:chgData name="Shreya Srivastava" userId="ae82a41d27ee62d3" providerId="LiveId" clId="{2CA4E358-3854-442B-AAC2-1A834E6A9EBE}" dt="2024-06-19T21:10:48.084" v="5219" actId="122"/>
          <ac:spMkLst>
            <pc:docMk/>
            <pc:sldMk cId="1290330047" sldId="2147470402"/>
            <ac:spMk id="2" creationId="{F823B79C-1861-696E-4CB8-367749159E42}"/>
          </ac:spMkLst>
        </pc:spChg>
        <pc:spChg chg="add del mod">
          <ac:chgData name="Shreya Srivastava" userId="ae82a41d27ee62d3" providerId="LiveId" clId="{2CA4E358-3854-442B-AAC2-1A834E6A9EBE}" dt="2024-06-19T21:17:02.103" v="5266" actId="20577"/>
          <ac:spMkLst>
            <pc:docMk/>
            <pc:sldMk cId="1290330047" sldId="2147470402"/>
            <ac:spMk id="3" creationId="{48FDB3AB-7F36-BA25-816F-89198439DD30}"/>
          </ac:spMkLst>
        </pc:spChg>
        <pc:spChg chg="add">
          <ac:chgData name="Shreya Srivastava" userId="ae82a41d27ee62d3" providerId="LiveId" clId="{2CA4E358-3854-442B-AAC2-1A834E6A9EBE}" dt="2024-06-19T21:12:42.131" v="5236"/>
          <ac:spMkLst>
            <pc:docMk/>
            <pc:sldMk cId="1290330047" sldId="2147470402"/>
            <ac:spMk id="5" creationId="{D0C61714-AAAF-EE52-840C-E41EBAD7AF38}"/>
          </ac:spMkLst>
        </pc:spChg>
        <pc:graphicFrameChg chg="add mod">
          <ac:chgData name="Shreya Srivastava" userId="ae82a41d27ee62d3" providerId="LiveId" clId="{2CA4E358-3854-442B-AAC2-1A834E6A9EBE}" dt="2024-06-19T21:12:47.266" v="5237"/>
          <ac:graphicFrameMkLst>
            <pc:docMk/>
            <pc:sldMk cId="1290330047" sldId="2147470402"/>
            <ac:graphicFrameMk id="4" creationId="{EEF2BC1D-3DDA-C8B9-1135-0E7EB4923109}"/>
          </ac:graphicFrameMkLst>
        </pc:graphicFrameChg>
      </pc:sldChg>
      <pc:sldChg chg="modSp new mod">
        <pc:chgData name="Shreya Srivastava" userId="ae82a41d27ee62d3" providerId="LiveId" clId="{2CA4E358-3854-442B-AAC2-1A834E6A9EBE}" dt="2024-06-19T21:36:16.900" v="5344" actId="5793"/>
        <pc:sldMkLst>
          <pc:docMk/>
          <pc:sldMk cId="175489128" sldId="2147470403"/>
        </pc:sldMkLst>
        <pc:spChg chg="mod">
          <ac:chgData name="Shreya Srivastava" userId="ae82a41d27ee62d3" providerId="LiveId" clId="{2CA4E358-3854-442B-AAC2-1A834E6A9EBE}" dt="2024-06-19T21:29:52.662" v="5316" actId="404"/>
          <ac:spMkLst>
            <pc:docMk/>
            <pc:sldMk cId="175489128" sldId="2147470403"/>
            <ac:spMk id="2" creationId="{FF7DEEA7-000C-4DC8-BC69-F8D6D84D78AE}"/>
          </ac:spMkLst>
        </pc:spChg>
        <pc:spChg chg="mod">
          <ac:chgData name="Shreya Srivastava" userId="ae82a41d27ee62d3" providerId="LiveId" clId="{2CA4E358-3854-442B-AAC2-1A834E6A9EBE}" dt="2024-06-19T21:36:16.900" v="5344" actId="5793"/>
          <ac:spMkLst>
            <pc:docMk/>
            <pc:sldMk cId="175489128" sldId="2147470403"/>
            <ac:spMk id="3" creationId="{38C484B6-94EB-9CE8-991E-2CE72ACDAC45}"/>
          </ac:spMkLst>
        </pc:spChg>
      </pc:sldChg>
      <pc:sldMasterChg chg="modSldLayout">
        <pc:chgData name="Shreya Srivastava" userId="ae82a41d27ee62d3" providerId="LiveId" clId="{2CA4E358-3854-442B-AAC2-1A834E6A9EBE}" dt="2024-06-19T06:19:30.309" v="654" actId="478"/>
        <pc:sldMasterMkLst>
          <pc:docMk/>
          <pc:sldMasterMk cId="1129557439" sldId="2147483648"/>
        </pc:sldMasterMkLst>
        <pc:sldLayoutChg chg="delSp mod">
          <pc:chgData name="Shreya Srivastava" userId="ae82a41d27ee62d3" providerId="LiveId" clId="{2CA4E358-3854-442B-AAC2-1A834E6A9EBE}" dt="2024-06-19T06:19:30.309" v="654" actId="478"/>
          <pc:sldLayoutMkLst>
            <pc:docMk/>
            <pc:sldMasterMk cId="1129557439" sldId="2147483648"/>
            <pc:sldLayoutMk cId="1804866760" sldId="2147483661"/>
          </pc:sldLayoutMkLst>
          <pc:spChg chg="del">
            <ac:chgData name="Shreya Srivastava" userId="ae82a41d27ee62d3" providerId="LiveId" clId="{2CA4E358-3854-442B-AAC2-1A834E6A9EBE}" dt="2024-06-19T06:19:30.309" v="654" actId="478"/>
            <ac:spMkLst>
              <pc:docMk/>
              <pc:sldMasterMk cId="1129557439" sldId="2147483648"/>
              <pc:sldLayoutMk cId="1804866760" sldId="2147483661"/>
              <ac:spMk id="11" creationId="{00000000-0000-0000-0000-00000000000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BDAB47-51A6-462F-B72B-FE3C4879B42F}" type="datetimeFigureOut">
              <a:rPr lang="en-IN" smtClean="0"/>
              <a:t>21-07-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C5064B-92BC-4C96-B6ED-AF3A65840883}" type="slidenum">
              <a:rPr lang="en-IN" smtClean="0"/>
              <a:t>‹#›</a:t>
            </a:fld>
            <a:endParaRPr lang="en-IN"/>
          </a:p>
        </p:txBody>
      </p:sp>
    </p:spTree>
    <p:extLst>
      <p:ext uri="{BB962C8B-B14F-4D97-AF65-F5344CB8AC3E}">
        <p14:creationId xmlns:p14="http://schemas.microsoft.com/office/powerpoint/2010/main" val="15030864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unep.org/news-and-stories/story/once-enough-stain-shirt-collars-smog-lifting-over-greater-seoul"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IN" sz="5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D0C5064B-92BC-4C96-B6ED-AF3A65840883}" type="slidenum">
              <a:rPr lang="en-IN" smtClean="0"/>
              <a:t>3</a:t>
            </a:fld>
            <a:endParaRPr lang="en-IN"/>
          </a:p>
        </p:txBody>
      </p:sp>
    </p:spTree>
    <p:extLst>
      <p:ext uri="{BB962C8B-B14F-4D97-AF65-F5344CB8AC3E}">
        <p14:creationId xmlns:p14="http://schemas.microsoft.com/office/powerpoint/2010/main" val="532021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https://www.greenpeace.org/india/en/press/10991/1800-deaths-per-million-estimated-due-to-pm2-5-air-pollution-in-delhi-reveals-a-new-finding-by-greenpeace-and-iqair/</a:t>
            </a:r>
          </a:p>
          <a:p>
            <a:r>
              <a:rPr lang="en-IN" dirty="0"/>
              <a:t>https://cpcb.nic.in/displaypdf.php?id=RGVsaGkucGRm</a:t>
            </a:r>
          </a:p>
        </p:txBody>
      </p:sp>
      <p:sp>
        <p:nvSpPr>
          <p:cNvPr id="4" name="Slide Number Placeholder 3"/>
          <p:cNvSpPr>
            <a:spLocks noGrp="1"/>
          </p:cNvSpPr>
          <p:nvPr>
            <p:ph type="sldNum" sz="quarter" idx="5"/>
          </p:nvPr>
        </p:nvSpPr>
        <p:spPr/>
        <p:txBody>
          <a:bodyPr/>
          <a:lstStyle/>
          <a:p>
            <a:fld id="{D0C5064B-92BC-4C96-B6ED-AF3A65840883}" type="slidenum">
              <a:rPr lang="en-IN" smtClean="0"/>
              <a:t>6</a:t>
            </a:fld>
            <a:endParaRPr lang="en-IN"/>
          </a:p>
        </p:txBody>
      </p:sp>
    </p:spTree>
    <p:extLst>
      <p:ext uri="{BB962C8B-B14F-4D97-AF65-F5344CB8AC3E}">
        <p14:creationId xmlns:p14="http://schemas.microsoft.com/office/powerpoint/2010/main" val="477044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Air pollution | Smog is lifting over greater Seoul (unep.org)</a:t>
            </a:r>
            <a:endParaRPr lang="en-IN" dirty="0"/>
          </a:p>
        </p:txBody>
      </p:sp>
      <p:sp>
        <p:nvSpPr>
          <p:cNvPr id="4" name="Slide Number Placeholder 3"/>
          <p:cNvSpPr>
            <a:spLocks noGrp="1"/>
          </p:cNvSpPr>
          <p:nvPr>
            <p:ph type="sldNum" sz="quarter" idx="5"/>
          </p:nvPr>
        </p:nvSpPr>
        <p:spPr/>
        <p:txBody>
          <a:bodyPr/>
          <a:lstStyle/>
          <a:p>
            <a:fld id="{D0C5064B-92BC-4C96-B6ED-AF3A65840883}" type="slidenum">
              <a:rPr lang="en-IN" smtClean="0"/>
              <a:t>21</a:t>
            </a:fld>
            <a:endParaRPr lang="en-IN"/>
          </a:p>
        </p:txBody>
      </p:sp>
    </p:spTree>
    <p:extLst>
      <p:ext uri="{BB962C8B-B14F-4D97-AF65-F5344CB8AC3E}">
        <p14:creationId xmlns:p14="http://schemas.microsoft.com/office/powerpoint/2010/main" val="2195257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EDB00-A3D3-8284-9AE7-920EFA3230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314E9A00-73C2-B284-5FDC-02699EBB03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AAD68992-4786-C398-F209-A6199763671A}"/>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5" name="Footer Placeholder 4">
            <a:extLst>
              <a:ext uri="{FF2B5EF4-FFF2-40B4-BE49-F238E27FC236}">
                <a16:creationId xmlns:a16="http://schemas.microsoft.com/office/drawing/2014/main" id="{F5476E2C-EAC8-6D83-EB1D-A54DB342B2B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1CC89C50-AF65-3F2D-17BB-113393265233}"/>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27785885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E8225-FC3A-96C1-0A99-ABF7F107589A}"/>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1944E3D7-7997-CD85-F421-A97D5B540B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FC0425F6-D500-05EA-0EEC-242B97C047A9}"/>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5" name="Footer Placeholder 4">
            <a:extLst>
              <a:ext uri="{FF2B5EF4-FFF2-40B4-BE49-F238E27FC236}">
                <a16:creationId xmlns:a16="http://schemas.microsoft.com/office/drawing/2014/main" id="{43A04669-A81F-B92B-2336-9E160F0FD91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8DC8A93-92CD-1109-27D5-33822901A914}"/>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42635657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ABA0CA-54FE-3199-3421-0C70D07AFBF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BFE6478-AD71-5510-92C3-926FA08249A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6312093-4A54-1875-36BF-2BDA253DD30C}"/>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5" name="Footer Placeholder 4">
            <a:extLst>
              <a:ext uri="{FF2B5EF4-FFF2-40B4-BE49-F238E27FC236}">
                <a16:creationId xmlns:a16="http://schemas.microsoft.com/office/drawing/2014/main" id="{93B4B733-F1F6-CA16-9AFD-2E70D05C24C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2762122-A38E-EF1F-D195-9D465E923ADE}"/>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34310330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Subhead_Only - IQVIA">
    <p:spTree>
      <p:nvGrpSpPr>
        <p:cNvPr id="1" name=""/>
        <p:cNvGrpSpPr/>
        <p:nvPr/>
      </p:nvGrpSpPr>
      <p:grpSpPr>
        <a:xfrm>
          <a:off x="0" y="0"/>
          <a:ext cx="0" cy="0"/>
          <a:chOff x="0" y="0"/>
          <a:chExt cx="0" cy="0"/>
        </a:xfrm>
      </p:grpSpPr>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2756666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 IQVIA">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180486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dirty="0"/>
              <a:t>Headlines are 28pt Arial Bold sentence case</a:t>
            </a:r>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246332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25AA5-ED56-F48F-90D4-1B5195DB575B}"/>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8CEA1FCF-924B-20A9-6DF3-A9204D5C60B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8508722-3D0F-1782-363C-20666183BF1B}"/>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5" name="Footer Placeholder 4">
            <a:extLst>
              <a:ext uri="{FF2B5EF4-FFF2-40B4-BE49-F238E27FC236}">
                <a16:creationId xmlns:a16="http://schemas.microsoft.com/office/drawing/2014/main" id="{0FC491F0-EE1A-833F-5F75-139E3216049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654C2B1-40C0-D961-6859-B0A580DE1C40}"/>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12883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F3922-5787-633F-D285-EAD11461946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81EFD67F-F7FF-C645-AC0F-BE679357E6F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E758EC-A522-2B8A-5E60-D6D3BCE4E376}"/>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5" name="Footer Placeholder 4">
            <a:extLst>
              <a:ext uri="{FF2B5EF4-FFF2-40B4-BE49-F238E27FC236}">
                <a16:creationId xmlns:a16="http://schemas.microsoft.com/office/drawing/2014/main" id="{0179F458-7413-FB98-D959-724D2EFDB19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23063054-E222-6F9F-6B54-A13E3A03593D}"/>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16509600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C1365-885C-EDDF-7DD7-813EF0C0D4D3}"/>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A7B78E9-4127-5613-9833-F78918AE51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36F6D7BE-86FB-59BE-D05D-6FE7477543F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39EDBC4B-79CF-0484-8A53-07B02C585CE3}"/>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6" name="Footer Placeholder 5">
            <a:extLst>
              <a:ext uri="{FF2B5EF4-FFF2-40B4-BE49-F238E27FC236}">
                <a16:creationId xmlns:a16="http://schemas.microsoft.com/office/drawing/2014/main" id="{3252327F-3306-89AC-C028-B92C3F1DD548}"/>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4547592D-39F2-BCCD-DDDA-7DC2044D8C9F}"/>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2802116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9C00E-4845-D4DF-E07F-4D45C52A08C9}"/>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FE5F38E9-742F-6EC8-4095-3E1BCFDA7B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BCD5093-0370-4689-7829-D9C1ABEFC38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F6AE737E-57ED-018B-E0AF-9DE76352D7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AA6243-7823-0E27-0152-DDE37DD33C9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BDBB5171-FBB0-DDF1-440D-C6E1520A5CD8}"/>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8" name="Footer Placeholder 7">
            <a:extLst>
              <a:ext uri="{FF2B5EF4-FFF2-40B4-BE49-F238E27FC236}">
                <a16:creationId xmlns:a16="http://schemas.microsoft.com/office/drawing/2014/main" id="{B2B24270-4631-3FAE-7F65-798810B4111C}"/>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CC123836-F9CE-04A3-545C-223CBCD03D47}"/>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9302356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27B75-53F1-ECA4-81A3-9EE72EDF5A8F}"/>
              </a:ext>
            </a:extLst>
          </p:cNvPr>
          <p:cNvSpPr>
            <a:spLocks noGrp="1"/>
          </p:cNvSpPr>
          <p:nvPr>
            <p:ph type="title"/>
          </p:nvPr>
        </p:nvSpPr>
        <p:spPr/>
        <p:txBody>
          <a:bodyPr/>
          <a:lstStyle/>
          <a:p>
            <a:r>
              <a:rPr lang="en-US" dirty="0"/>
              <a:t>Click to edit Master title style</a:t>
            </a:r>
            <a:endParaRPr lang="en-IN" dirty="0"/>
          </a:p>
        </p:txBody>
      </p:sp>
      <p:sp>
        <p:nvSpPr>
          <p:cNvPr id="3" name="Date Placeholder 2">
            <a:extLst>
              <a:ext uri="{FF2B5EF4-FFF2-40B4-BE49-F238E27FC236}">
                <a16:creationId xmlns:a16="http://schemas.microsoft.com/office/drawing/2014/main" id="{0B5EC155-03A2-DBD5-758A-100970F0224C}"/>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4" name="Footer Placeholder 3">
            <a:extLst>
              <a:ext uri="{FF2B5EF4-FFF2-40B4-BE49-F238E27FC236}">
                <a16:creationId xmlns:a16="http://schemas.microsoft.com/office/drawing/2014/main" id="{3864DE78-5A1A-FEA7-9D8B-559586B4415E}"/>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C9C4B4D3-9D4F-64A7-C0C2-15C147795597}"/>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22057074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0A8FDB-779B-8FA6-44B7-84DF6E7ED1D1}"/>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3" name="Footer Placeholder 2">
            <a:extLst>
              <a:ext uri="{FF2B5EF4-FFF2-40B4-BE49-F238E27FC236}">
                <a16:creationId xmlns:a16="http://schemas.microsoft.com/office/drawing/2014/main" id="{257022EA-57D6-0495-A9F2-42E127D835A5}"/>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7E693DEE-471B-E88A-A931-60B51F07F2E0}"/>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426991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2C31B-7BDC-2E80-03FC-0A2AF61E7F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FD35A031-747D-F61D-83A8-2540DC3585A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45324303-6068-F220-4E46-FB6FAB32EC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6B5B74-E7EC-A5DA-DA7A-49440FB014CE}"/>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6" name="Footer Placeholder 5">
            <a:extLst>
              <a:ext uri="{FF2B5EF4-FFF2-40B4-BE49-F238E27FC236}">
                <a16:creationId xmlns:a16="http://schemas.microsoft.com/office/drawing/2014/main" id="{A1A3C464-B2E1-C7B0-52A1-A4D8E5B546CD}"/>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737F589D-BD36-9EF9-F632-E8E3CE836847}"/>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52288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16C3E-B236-0D0F-4F72-76CD2EB765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C8526F29-04BC-A407-2CA9-068891C64A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177A4836-6BF5-683E-6382-80AC4250C8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B96ECFA-82F3-E1F5-E786-61AA128CC6DE}"/>
              </a:ext>
            </a:extLst>
          </p:cNvPr>
          <p:cNvSpPr>
            <a:spLocks noGrp="1"/>
          </p:cNvSpPr>
          <p:nvPr>
            <p:ph type="dt" sz="half" idx="10"/>
          </p:nvPr>
        </p:nvSpPr>
        <p:spPr/>
        <p:txBody>
          <a:bodyPr/>
          <a:lstStyle/>
          <a:p>
            <a:fld id="{16AE1F5C-8764-4946-BCD7-CFE2C6B9F966}" type="datetimeFigureOut">
              <a:rPr lang="en-IN" smtClean="0"/>
              <a:t>21-07-2024</a:t>
            </a:fld>
            <a:endParaRPr lang="en-IN"/>
          </a:p>
        </p:txBody>
      </p:sp>
      <p:sp>
        <p:nvSpPr>
          <p:cNvPr id="6" name="Footer Placeholder 5">
            <a:extLst>
              <a:ext uri="{FF2B5EF4-FFF2-40B4-BE49-F238E27FC236}">
                <a16:creationId xmlns:a16="http://schemas.microsoft.com/office/drawing/2014/main" id="{267DAF95-BCC3-C81A-075C-0610643A7E19}"/>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CA157FF2-55E5-1AFF-745C-4780B9FEA984}"/>
              </a:ext>
            </a:extLst>
          </p:cNvPr>
          <p:cNvSpPr>
            <a:spLocks noGrp="1"/>
          </p:cNvSpPr>
          <p:nvPr>
            <p:ph type="sldNum" sz="quarter" idx="12"/>
          </p:nvPr>
        </p:nvSpPr>
        <p:spPr/>
        <p:txBody>
          <a:bodyPr/>
          <a:lstStyle/>
          <a:p>
            <a:fld id="{8D9F6A89-DF24-416C-8614-6A3DE49FFB56}" type="slidenum">
              <a:rPr lang="en-IN" smtClean="0"/>
              <a:t>‹#›</a:t>
            </a:fld>
            <a:endParaRPr lang="en-IN"/>
          </a:p>
        </p:txBody>
      </p:sp>
    </p:spTree>
    <p:extLst>
      <p:ext uri="{BB962C8B-B14F-4D97-AF65-F5344CB8AC3E}">
        <p14:creationId xmlns:p14="http://schemas.microsoft.com/office/powerpoint/2010/main" val="2887010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EB8ECED-6D71-2791-79CA-4B73966782A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A2A29547-5C66-DC97-AC47-38F9C514A41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a:extLst>
              <a:ext uri="{FF2B5EF4-FFF2-40B4-BE49-F238E27FC236}">
                <a16:creationId xmlns:a16="http://schemas.microsoft.com/office/drawing/2014/main" id="{B3901D0C-CDD4-A70F-7BB6-5D04DEF186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6AE1F5C-8764-4946-BCD7-CFE2C6B9F966}" type="datetimeFigureOut">
              <a:rPr lang="en-IN" smtClean="0"/>
              <a:t>21-07-2024</a:t>
            </a:fld>
            <a:endParaRPr lang="en-IN"/>
          </a:p>
        </p:txBody>
      </p:sp>
      <p:sp>
        <p:nvSpPr>
          <p:cNvPr id="5" name="Footer Placeholder 4">
            <a:extLst>
              <a:ext uri="{FF2B5EF4-FFF2-40B4-BE49-F238E27FC236}">
                <a16:creationId xmlns:a16="http://schemas.microsoft.com/office/drawing/2014/main" id="{B4A43CEE-6972-5CBF-2E2B-7492D3CA42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CCBD0406-26BD-D455-3168-1D9008427D6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D9F6A89-DF24-416C-8614-6A3DE49FFB56}" type="slidenum">
              <a:rPr lang="en-IN" smtClean="0"/>
              <a:t>‹#›</a:t>
            </a:fld>
            <a:endParaRPr lang="en-IN"/>
          </a:p>
        </p:txBody>
      </p:sp>
      <p:pic>
        <p:nvPicPr>
          <p:cNvPr id="8" name="Picture 7" descr="A black and white logo&#10;&#10;Description automatically generated">
            <a:extLst>
              <a:ext uri="{FF2B5EF4-FFF2-40B4-BE49-F238E27FC236}">
                <a16:creationId xmlns:a16="http://schemas.microsoft.com/office/drawing/2014/main" id="{C6839BDD-34DC-804B-17CF-76D2D5CC4CD7}"/>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1"/>
            <a:ext cx="1336045" cy="681036"/>
          </a:xfrm>
          <a:prstGeom prst="rect">
            <a:avLst/>
          </a:prstGeom>
        </p:spPr>
      </p:pic>
    </p:spTree>
    <p:extLst>
      <p:ext uri="{BB962C8B-B14F-4D97-AF65-F5344CB8AC3E}">
        <p14:creationId xmlns:p14="http://schemas.microsoft.com/office/powerpoint/2010/main" val="11295574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tags" Target="../tags/tag1.xml"/><Relationship Id="rId4" Type="http://schemas.openxmlformats.org/officeDocument/2006/relationships/image" Target="../media/image16.emf"/></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tags" Target="../tags/tag2.xml"/><Relationship Id="rId5" Type="http://schemas.openxmlformats.org/officeDocument/2006/relationships/image" Target="../media/image19.png"/><Relationship Id="rId4" Type="http://schemas.openxmlformats.org/officeDocument/2006/relationships/image" Target="../media/image16.emf"/></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3.xml"/><Relationship Id="rId5" Type="http://schemas.openxmlformats.org/officeDocument/2006/relationships/image" Target="../media/image26.svg"/><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7.xml"/><Relationship Id="rId5" Type="http://schemas.openxmlformats.org/officeDocument/2006/relationships/image" Target="../media/image30.svg"/><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13.xml"/><Relationship Id="rId5" Type="http://schemas.openxmlformats.org/officeDocument/2006/relationships/image" Target="../media/image34.sv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5.jpeg"/></Relationships>
</file>

<file path=ppt/slides/_rels/slide28.xml.rels><?xml version="1.0" encoding="UTF-8" standalone="yes"?>
<Relationships xmlns="http://schemas.openxmlformats.org/package/2006/relationships"><Relationship Id="rId3" Type="http://schemas.openxmlformats.org/officeDocument/2006/relationships/hyperlink" Target="https://moef.gov.in/wp-content/uploads/2019/05/NCAP_Report.pdf" TargetMode="External"/><Relationship Id="rId2" Type="http://schemas.openxmlformats.org/officeDocument/2006/relationships/hyperlink" Target="https://www.teriin.org/sites/default/files/2018-08/Report_SA_AQM-Delhi-NCR_0.pdf" TargetMode="External"/><Relationship Id="rId1" Type="http://schemas.openxmlformats.org/officeDocument/2006/relationships/slideLayout" Target="../slideLayouts/slideLayout2.xml"/><Relationship Id="rId5" Type="http://schemas.openxmlformats.org/officeDocument/2006/relationships/hyperlink" Target="https://e-lib.iclei.org/promise-of-seoul/" TargetMode="External"/><Relationship Id="rId4" Type="http://schemas.openxmlformats.org/officeDocument/2006/relationships/hyperlink" Target="https://pib.gov.in/PressReleaseIframePage.aspx?PRID=1909910"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www.eea.europa.eu/en/analysis/indicators/health-impacts-of-exposure-to" TargetMode="External"/><Relationship Id="rId2" Type="http://schemas.openxmlformats.org/officeDocument/2006/relationships/hyperlink" Target="https://www.who.int/news-room/fact-sheets/detail/ambient-(outdoor)-air-quality-and-health" TargetMode="External"/><Relationship Id="rId1" Type="http://schemas.openxmlformats.org/officeDocument/2006/relationships/slideLayout" Target="../slideLayouts/slideLayout2.xml"/><Relationship Id="rId5" Type="http://schemas.openxmlformats.org/officeDocument/2006/relationships/hyperlink" Target="https://www.greenpeace.org/india/en/press/10991/1800-deaths-per-million-estimated-due-to-pm2-5-air-pollution-in-delhi-reveals-a-new-finding-by-greenpeace-and-iqair/" TargetMode="External"/><Relationship Id="rId4" Type="http://schemas.openxmlformats.org/officeDocument/2006/relationships/hyperlink" Target="https://www.eea.europa.eu/publications/air-quality-in-europe-2022/health-impacts-of-air-pollution"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hyperlink" Target="http://dx.doi.org/10.5696/2156-9614-10.27.200910" TargetMode="External"/><Relationship Id="rId2" Type="http://schemas.openxmlformats.org/officeDocument/2006/relationships/hyperlink" Target="http://dx.doi.org/10.1016/j.atmosenv.2023.119712" TargetMode="External"/><Relationship Id="rId1" Type="http://schemas.openxmlformats.org/officeDocument/2006/relationships/slideLayout" Target="../slideLayouts/slideLayout2.xml"/><Relationship Id="rId5" Type="http://schemas.openxmlformats.org/officeDocument/2006/relationships/hyperlink" Target="http://dx.doi.org/10.1016/j.lansea.2022.100081" TargetMode="External"/><Relationship Id="rId4" Type="http://schemas.openxmlformats.org/officeDocument/2006/relationships/hyperlink" Target="http://dx.doi.org/10.3390/su15054209"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7.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2">
            <a:alphaModFix amt="61000"/>
          </a:blip>
          <a:tile tx="0" ty="0" sx="100000" sy="100000" flip="none" algn="tl"/>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A44AC61-AA91-C87F-D414-BDAB39D6B5E0}"/>
              </a:ext>
            </a:extLst>
          </p:cNvPr>
          <p:cNvPicPr>
            <a:picLocks noChangeAspect="1"/>
          </p:cNvPicPr>
          <p:nvPr/>
        </p:nvPicPr>
        <p:blipFill>
          <a:blip r:embed="rId3"/>
          <a:stretch>
            <a:fillRect/>
          </a:stretch>
        </p:blipFill>
        <p:spPr>
          <a:xfrm>
            <a:off x="6398080" y="0"/>
            <a:ext cx="5793920" cy="6858000"/>
          </a:xfrm>
          <a:prstGeom prst="rect">
            <a:avLst/>
          </a:prstGeom>
        </p:spPr>
      </p:pic>
      <p:pic>
        <p:nvPicPr>
          <p:cNvPr id="5" name="Picture 4" descr="A black and white logo&#10;&#10;Description automatically generated">
            <a:extLst>
              <a:ext uri="{FF2B5EF4-FFF2-40B4-BE49-F238E27FC236}">
                <a16:creationId xmlns:a16="http://schemas.microsoft.com/office/drawing/2014/main" id="{90AD9704-458C-8EE9-9060-33DDCD2CDB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760764" cy="897532"/>
          </a:xfrm>
          <a:prstGeom prst="rect">
            <a:avLst/>
          </a:prstGeom>
        </p:spPr>
      </p:pic>
      <p:sp>
        <p:nvSpPr>
          <p:cNvPr id="8" name="TextBox 7">
            <a:extLst>
              <a:ext uri="{FF2B5EF4-FFF2-40B4-BE49-F238E27FC236}">
                <a16:creationId xmlns:a16="http://schemas.microsoft.com/office/drawing/2014/main" id="{C1C3C44A-A09A-EF9E-D59A-137A52823D92}"/>
              </a:ext>
            </a:extLst>
          </p:cNvPr>
          <p:cNvSpPr txBox="1"/>
          <p:nvPr/>
        </p:nvSpPr>
        <p:spPr>
          <a:xfrm>
            <a:off x="0" y="993319"/>
            <a:ext cx="6398079" cy="2177584"/>
          </a:xfrm>
          <a:prstGeom prst="rect">
            <a:avLst/>
          </a:prstGeom>
          <a:noFill/>
        </p:spPr>
        <p:txBody>
          <a:bodyPr wrap="square">
            <a:spAutoFit/>
          </a:bodyPr>
          <a:lstStyle/>
          <a:p>
            <a:pPr algn="ctr">
              <a:lnSpc>
                <a:spcPct val="107000"/>
              </a:lnSpc>
              <a:spcAft>
                <a:spcPts val="800"/>
              </a:spcAft>
            </a:pPr>
            <a:r>
              <a:rPr lang="en-IN" sz="3200" b="1" kern="100" dirty="0">
                <a:solidFill>
                  <a:srgbClr val="FF0000"/>
                </a:solidFill>
                <a:effectLst/>
                <a:latin typeface="Arial" panose="020B0604020202020204" pitchFamily="34" charset="0"/>
                <a:ea typeface="Aptos" panose="020B0004020202020204" pitchFamily="34" charset="0"/>
                <a:cs typeface="Times New Roman" panose="02020603050405020304" pitchFamily="18" charset="0"/>
              </a:rPr>
              <a:t>Clean Air for Delhi: An Analysis of Barriers to NCAP Targets and Recommendations for Improvement</a:t>
            </a:r>
            <a:endParaRPr lang="en-IN" sz="3200" kern="100" dirty="0">
              <a:solidFill>
                <a:srgbClr val="FF0000"/>
              </a:solidFill>
              <a:effectLst/>
              <a:latin typeface="Aptos" panose="020B0004020202020204" pitchFamily="34" charset="0"/>
              <a:ea typeface="Aptos" panose="020B0004020202020204" pitchFamily="34" charset="0"/>
              <a:cs typeface="Times New Roman" panose="02020603050405020304" pitchFamily="18" charset="0"/>
            </a:endParaRPr>
          </a:p>
        </p:txBody>
      </p:sp>
      <p:sp>
        <p:nvSpPr>
          <p:cNvPr id="12" name="TextBox 11">
            <a:extLst>
              <a:ext uri="{FF2B5EF4-FFF2-40B4-BE49-F238E27FC236}">
                <a16:creationId xmlns:a16="http://schemas.microsoft.com/office/drawing/2014/main" id="{E42390E1-1B6B-C6F8-9251-24351D6CFF3B}"/>
              </a:ext>
            </a:extLst>
          </p:cNvPr>
          <p:cNvSpPr txBox="1"/>
          <p:nvPr/>
        </p:nvSpPr>
        <p:spPr>
          <a:xfrm>
            <a:off x="483164" y="4953001"/>
            <a:ext cx="5710807" cy="1287532"/>
          </a:xfrm>
          <a:prstGeom prst="rect">
            <a:avLst/>
          </a:prstGeom>
          <a:noFill/>
        </p:spPr>
        <p:txBody>
          <a:bodyPr wrap="square" rtlCol="0">
            <a:spAutoFit/>
          </a:bodyPr>
          <a:lstStyle/>
          <a:p>
            <a:pPr>
              <a:lnSpc>
                <a:spcPct val="150000"/>
              </a:lnSpc>
            </a:pPr>
            <a:r>
              <a:rPr lang="en-IN" dirty="0">
                <a:latin typeface="Arial" panose="020B0604020202020204" pitchFamily="34" charset="0"/>
                <a:cs typeface="Arial" panose="020B0604020202020204" pitchFamily="34" charset="0"/>
              </a:rPr>
              <a:t>Presented by : </a:t>
            </a:r>
            <a:r>
              <a:rPr lang="en-IN" dirty="0" err="1">
                <a:latin typeface="Arial" panose="020B0604020202020204" pitchFamily="34" charset="0"/>
                <a:cs typeface="Arial" panose="020B0604020202020204" pitchFamily="34" charset="0"/>
              </a:rPr>
              <a:t>Dr.</a:t>
            </a:r>
            <a:r>
              <a:rPr lang="en-IN" dirty="0">
                <a:latin typeface="Arial" panose="020B0604020202020204" pitchFamily="34" charset="0"/>
                <a:cs typeface="Arial" panose="020B0604020202020204" pitchFamily="34" charset="0"/>
              </a:rPr>
              <a:t> Shreya Srivastava ( PG/22/117) Mentor: </a:t>
            </a:r>
            <a:r>
              <a:rPr lang="en-IN" dirty="0" err="1">
                <a:latin typeface="Arial" panose="020B0604020202020204" pitchFamily="34" charset="0"/>
                <a:cs typeface="Arial" panose="020B0604020202020204" pitchFamily="34" charset="0"/>
              </a:rPr>
              <a:t>Dr.</a:t>
            </a:r>
            <a:r>
              <a:rPr lang="en-IN" dirty="0">
                <a:latin typeface="Arial" panose="020B0604020202020204" pitchFamily="34" charset="0"/>
                <a:cs typeface="Arial" panose="020B0604020202020204" pitchFamily="34" charset="0"/>
              </a:rPr>
              <a:t> </a:t>
            </a:r>
            <a:r>
              <a:rPr lang="en-IN" dirty="0" err="1">
                <a:latin typeface="Arial" panose="020B0604020202020204" pitchFamily="34" charset="0"/>
                <a:cs typeface="Arial" panose="020B0604020202020204" pitchFamily="34" charset="0"/>
              </a:rPr>
              <a:t>Ratika</a:t>
            </a:r>
            <a:r>
              <a:rPr lang="en-IN" dirty="0">
                <a:latin typeface="Arial" panose="020B0604020202020204" pitchFamily="34" charset="0"/>
                <a:cs typeface="Arial" panose="020B0604020202020204" pitchFamily="34" charset="0"/>
              </a:rPr>
              <a:t> </a:t>
            </a:r>
            <a:r>
              <a:rPr lang="en-IN" dirty="0" err="1">
                <a:latin typeface="Arial" panose="020B0604020202020204" pitchFamily="34" charset="0"/>
                <a:cs typeface="Arial" panose="020B0604020202020204" pitchFamily="34" charset="0"/>
              </a:rPr>
              <a:t>Samtani</a:t>
            </a:r>
            <a:endParaRPr lang="en-IN" dirty="0">
              <a:latin typeface="Arial" panose="020B0604020202020204" pitchFamily="34" charset="0"/>
              <a:cs typeface="Arial" panose="020B0604020202020204" pitchFamily="34" charset="0"/>
            </a:endParaRPr>
          </a:p>
          <a:p>
            <a:pPr>
              <a:lnSpc>
                <a:spcPct val="150000"/>
              </a:lnSpc>
            </a:pPr>
            <a:r>
              <a:rPr lang="en-IN" dirty="0">
                <a:latin typeface="Arial" panose="020B0604020202020204" pitchFamily="34" charset="0"/>
                <a:cs typeface="Arial" panose="020B0604020202020204" pitchFamily="34" charset="0"/>
              </a:rPr>
              <a:t>Organisation : IIHMR, Delhi</a:t>
            </a:r>
          </a:p>
        </p:txBody>
      </p:sp>
    </p:spTree>
    <p:extLst>
      <p:ext uri="{BB962C8B-B14F-4D97-AF65-F5344CB8AC3E}">
        <p14:creationId xmlns:p14="http://schemas.microsoft.com/office/powerpoint/2010/main" val="4338902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1000"/>
            <a:lum/>
          </a:blip>
          <a:srcRect/>
          <a:tile tx="0" ty="0" sx="100000" sy="100000" flip="none" algn="tl"/>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21B2A-484B-9524-E6AD-6B64427E8790}"/>
              </a:ext>
            </a:extLst>
          </p:cNvPr>
          <p:cNvSpPr>
            <a:spLocks noGrp="1"/>
          </p:cNvSpPr>
          <p:nvPr>
            <p:ph type="title"/>
          </p:nvPr>
        </p:nvSpPr>
        <p:spPr>
          <a:xfrm>
            <a:off x="990599" y="743933"/>
            <a:ext cx="10515600" cy="946755"/>
          </a:xfrm>
        </p:spPr>
        <p:txBody>
          <a:bodyPr/>
          <a:lstStyle/>
          <a:p>
            <a:pPr algn="ctr"/>
            <a:r>
              <a:rPr lang="en-IN" dirty="0">
                <a:latin typeface="Arial" panose="020B0604020202020204" pitchFamily="34" charset="0"/>
                <a:cs typeface="Arial" panose="020B0604020202020204" pitchFamily="34" charset="0"/>
              </a:rPr>
              <a:t>Methodology </a:t>
            </a:r>
          </a:p>
        </p:txBody>
      </p:sp>
      <p:grpSp>
        <p:nvGrpSpPr>
          <p:cNvPr id="9" name="Group 8">
            <a:extLst>
              <a:ext uri="{FF2B5EF4-FFF2-40B4-BE49-F238E27FC236}">
                <a16:creationId xmlns:a16="http://schemas.microsoft.com/office/drawing/2014/main" id="{89EFDF0B-EE2E-9DCE-BC52-34841C7CEB1A}"/>
              </a:ext>
            </a:extLst>
          </p:cNvPr>
          <p:cNvGrpSpPr/>
          <p:nvPr/>
        </p:nvGrpSpPr>
        <p:grpSpPr>
          <a:xfrm>
            <a:off x="457200" y="1690688"/>
            <a:ext cx="11277600" cy="5148943"/>
            <a:chOff x="500743" y="1690688"/>
            <a:chExt cx="11277600" cy="5148943"/>
          </a:xfrm>
        </p:grpSpPr>
        <p:sp>
          <p:nvSpPr>
            <p:cNvPr id="7" name="Rectangle: Rounded Corners 6">
              <a:extLst>
                <a:ext uri="{FF2B5EF4-FFF2-40B4-BE49-F238E27FC236}">
                  <a16:creationId xmlns:a16="http://schemas.microsoft.com/office/drawing/2014/main" id="{6ECD5BE8-565E-B1D3-619D-ACDFB1CFC642}"/>
                </a:ext>
              </a:extLst>
            </p:cNvPr>
            <p:cNvSpPr/>
            <p:nvPr/>
          </p:nvSpPr>
          <p:spPr>
            <a:xfrm>
              <a:off x="500743" y="1690688"/>
              <a:ext cx="11277600" cy="5148943"/>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N"/>
            </a:p>
          </p:txBody>
        </p:sp>
        <p:sp>
          <p:nvSpPr>
            <p:cNvPr id="6" name="TextBox 5">
              <a:extLst>
                <a:ext uri="{FF2B5EF4-FFF2-40B4-BE49-F238E27FC236}">
                  <a16:creationId xmlns:a16="http://schemas.microsoft.com/office/drawing/2014/main" id="{87D01EF5-2B19-9ACD-C106-E2E9BD7113E2}"/>
                </a:ext>
              </a:extLst>
            </p:cNvPr>
            <p:cNvSpPr txBox="1"/>
            <p:nvPr/>
          </p:nvSpPr>
          <p:spPr>
            <a:xfrm>
              <a:off x="805542" y="1832203"/>
              <a:ext cx="10885715" cy="4651979"/>
            </a:xfrm>
            <a:prstGeom prst="rect">
              <a:avLst/>
            </a:prstGeom>
            <a:noFill/>
          </p:spPr>
          <p:txBody>
            <a:bodyPr wrap="square" rtlCol="0">
              <a:spAutoFit/>
            </a:bodyPr>
            <a:lstStyle/>
            <a:p>
              <a:pPr>
                <a:lnSpc>
                  <a:spcPct val="150000"/>
                </a:lnSpc>
              </a:pPr>
              <a:r>
                <a:rPr lang="en-IN" sz="2000" b="1" dirty="0">
                  <a:latin typeface="Arial" panose="020B0604020202020204" pitchFamily="34" charset="0"/>
                  <a:cs typeface="Arial" panose="020B0604020202020204" pitchFamily="34" charset="0"/>
                </a:rPr>
                <a:t>Study design </a:t>
              </a:r>
              <a:r>
                <a:rPr lang="en-IN" sz="2000" dirty="0">
                  <a:latin typeface="Arial" panose="020B0604020202020204" pitchFamily="34" charset="0"/>
                  <a:cs typeface="Arial" panose="020B0604020202020204" pitchFamily="34" charset="0"/>
                </a:rPr>
                <a:t>: Narrative literature review</a:t>
              </a:r>
            </a:p>
            <a:p>
              <a:pPr>
                <a:lnSpc>
                  <a:spcPct val="150000"/>
                </a:lnSpc>
              </a:pPr>
              <a:r>
                <a:rPr lang="en-IN" sz="2000" b="1" dirty="0">
                  <a:latin typeface="Arial" panose="020B0604020202020204" pitchFamily="34" charset="0"/>
                  <a:cs typeface="Arial" panose="020B0604020202020204" pitchFamily="34" charset="0"/>
                </a:rPr>
                <a:t>Study population </a:t>
              </a:r>
              <a:r>
                <a:rPr lang="en-IN" sz="2000" dirty="0">
                  <a:latin typeface="Arial" panose="020B0604020202020204" pitchFamily="34" charset="0"/>
                  <a:cs typeface="Arial" panose="020B0604020202020204" pitchFamily="34" charset="0"/>
                </a:rPr>
                <a:t>: Delhi, Seoul , Beijing</a:t>
              </a:r>
            </a:p>
            <a:p>
              <a:pPr algn="just">
                <a:lnSpc>
                  <a:spcPct val="150000"/>
                </a:lnSpc>
              </a:pPr>
              <a:r>
                <a:rPr lang="en-IN" sz="2000" b="1" dirty="0">
                  <a:latin typeface="Arial" panose="020B0604020202020204" pitchFamily="34" charset="0"/>
                  <a:cs typeface="Arial" panose="020B0604020202020204" pitchFamily="34" charset="0"/>
                </a:rPr>
                <a:t>Data type </a:t>
              </a:r>
              <a:r>
                <a:rPr lang="en-IN" sz="2000" dirty="0">
                  <a:latin typeface="Arial" panose="020B0604020202020204" pitchFamily="34" charset="0"/>
                  <a:cs typeface="Arial" panose="020B0604020202020204" pitchFamily="34" charset="0"/>
                </a:rPr>
                <a:t>: Secondary data including published papers and articles, Official websites and portals of government, statistical reports, reports by various government and non- government organisations, Press release documents by government, relevant articles.</a:t>
              </a:r>
            </a:p>
            <a:p>
              <a:pPr>
                <a:lnSpc>
                  <a:spcPct val="150000"/>
                </a:lnSpc>
              </a:pPr>
              <a:r>
                <a:rPr lang="en-IN" sz="2000" b="1" dirty="0">
                  <a:latin typeface="Arial" panose="020B0604020202020204" pitchFamily="34" charset="0"/>
                  <a:cs typeface="Arial" panose="020B0604020202020204" pitchFamily="34" charset="0"/>
                </a:rPr>
                <a:t>Duration</a:t>
              </a:r>
              <a:r>
                <a:rPr lang="en-IN" sz="2000" dirty="0">
                  <a:latin typeface="Arial" panose="020B0604020202020204" pitchFamily="34" charset="0"/>
                  <a:cs typeface="Arial" panose="020B0604020202020204" pitchFamily="34" charset="0"/>
                </a:rPr>
                <a:t> : 3 months ( 1 March 2024 to 31 May 2024)</a:t>
              </a:r>
            </a:p>
            <a:p>
              <a:pPr>
                <a:lnSpc>
                  <a:spcPct val="150000"/>
                </a:lnSpc>
              </a:pPr>
              <a:r>
                <a:rPr lang="en-IN" sz="2000" b="1" dirty="0">
                  <a:latin typeface="Arial" panose="020B0604020202020204" pitchFamily="34" charset="0"/>
                  <a:cs typeface="Arial" panose="020B0604020202020204" pitchFamily="34" charset="0"/>
                </a:rPr>
                <a:t>Search engines : </a:t>
              </a:r>
              <a:r>
                <a:rPr lang="en-IN" sz="2000" dirty="0">
                  <a:latin typeface="Arial" panose="020B0604020202020204" pitchFamily="34" charset="0"/>
                  <a:cs typeface="Arial" panose="020B0604020202020204" pitchFamily="34" charset="0"/>
                </a:rPr>
                <a:t>Google, Google scholar, PubMed, Scopus,</a:t>
              </a:r>
            </a:p>
            <a:p>
              <a:pPr>
                <a:lnSpc>
                  <a:spcPct val="150000"/>
                </a:lnSpc>
              </a:pPr>
              <a:r>
                <a:rPr lang="en-IN" sz="2000" b="1" dirty="0">
                  <a:latin typeface="Arial" panose="020B0604020202020204" pitchFamily="34" charset="0"/>
                  <a:cs typeface="Arial" panose="020B0604020202020204" pitchFamily="34" charset="0"/>
                </a:rPr>
                <a:t>Key words : </a:t>
              </a:r>
              <a:r>
                <a:rPr lang="en-IN" sz="2000" dirty="0">
                  <a:latin typeface="Arial" panose="020B0604020202020204" pitchFamily="34" charset="0"/>
                  <a:cs typeface="Arial" panose="020B0604020202020204" pitchFamily="34" charset="0"/>
                </a:rPr>
                <a:t>"Air pollution Delhi," "Ambient air pollution India," "NCAP India," "PM2.5," "PM10," "Climate change," "Smog," "Air quality," "Indoor air pollution," "respiratory diseases," "Vehicular emissions," </a:t>
              </a:r>
            </a:p>
          </p:txBody>
        </p:sp>
      </p:grpSp>
    </p:spTree>
    <p:extLst>
      <p:ext uri="{BB962C8B-B14F-4D97-AF65-F5344CB8AC3E}">
        <p14:creationId xmlns:p14="http://schemas.microsoft.com/office/powerpoint/2010/main" val="3786174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5F879AC3-D4CE-493C-ADC7-06205677F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18" name="Freeform: Shape 17">
            <a:extLst>
              <a:ext uri="{FF2B5EF4-FFF2-40B4-BE49-F238E27FC236}">
                <a16:creationId xmlns:a16="http://schemas.microsoft.com/office/drawing/2014/main" id="{736F0DFD-0954-464F-BF12-DD2E6F6E03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983504" cy="6858000"/>
          </a:xfrm>
          <a:custGeom>
            <a:avLst/>
            <a:gdLst>
              <a:gd name="connsiteX0" fmla="*/ 0 w 1983504"/>
              <a:gd name="connsiteY0" fmla="*/ 0 h 6858000"/>
              <a:gd name="connsiteX1" fmla="*/ 1376658 w 1983504"/>
              <a:gd name="connsiteY1" fmla="*/ 0 h 6858000"/>
              <a:gd name="connsiteX2" fmla="*/ 1690650 w 1983504"/>
              <a:gd name="connsiteY2" fmla="*/ 110269 h 6858000"/>
              <a:gd name="connsiteX3" fmla="*/ 1645361 w 1983504"/>
              <a:gd name="connsiteY3" fmla="*/ 135168 h 6858000"/>
              <a:gd name="connsiteX4" fmla="*/ 1373640 w 1983504"/>
              <a:gd name="connsiteY4" fmla="*/ 71141 h 6858000"/>
              <a:gd name="connsiteX5" fmla="*/ 1319295 w 1983504"/>
              <a:gd name="connsiteY5" fmla="*/ 88927 h 6858000"/>
              <a:gd name="connsiteX6" fmla="*/ 1346468 w 1983504"/>
              <a:gd name="connsiteY6" fmla="*/ 163625 h 6858000"/>
              <a:gd name="connsiteX7" fmla="*/ 1464213 w 1983504"/>
              <a:gd name="connsiteY7" fmla="*/ 192082 h 6858000"/>
              <a:gd name="connsiteX8" fmla="*/ 1648381 w 1983504"/>
              <a:gd name="connsiteY8" fmla="*/ 373491 h 6858000"/>
              <a:gd name="connsiteX9" fmla="*/ 1370620 w 1983504"/>
              <a:gd name="connsiteY9" fmla="*/ 352148 h 6858000"/>
              <a:gd name="connsiteX10" fmla="*/ 1322314 w 1983504"/>
              <a:gd name="connsiteY10" fmla="*/ 394834 h 6858000"/>
              <a:gd name="connsiteX11" fmla="*/ 1304199 w 1983504"/>
              <a:gd name="connsiteY11" fmla="*/ 451747 h 6858000"/>
              <a:gd name="connsiteX12" fmla="*/ 1222682 w 1983504"/>
              <a:gd name="connsiteY12" fmla="*/ 359262 h 6858000"/>
              <a:gd name="connsiteX13" fmla="*/ 1153242 w 1983504"/>
              <a:gd name="connsiteY13" fmla="*/ 334364 h 6858000"/>
              <a:gd name="connsiteX14" fmla="*/ 1132108 w 1983504"/>
              <a:gd name="connsiteY14" fmla="*/ 416176 h 6858000"/>
              <a:gd name="connsiteX15" fmla="*/ 1195509 w 1983504"/>
              <a:gd name="connsiteY15" fmla="*/ 505101 h 6858000"/>
              <a:gd name="connsiteX16" fmla="*/ 1364582 w 1983504"/>
              <a:gd name="connsiteY16" fmla="*/ 558458 h 6858000"/>
              <a:gd name="connsiteX17" fmla="*/ 1183434 w 1983504"/>
              <a:gd name="connsiteY17" fmla="*/ 558458 h 6858000"/>
              <a:gd name="connsiteX18" fmla="*/ 975114 w 1983504"/>
              <a:gd name="connsiteY18" fmla="*/ 522887 h 6858000"/>
              <a:gd name="connsiteX19" fmla="*/ 754716 w 1983504"/>
              <a:gd name="connsiteY19" fmla="*/ 533558 h 6858000"/>
              <a:gd name="connsiteX20" fmla="*/ 546395 w 1983504"/>
              <a:gd name="connsiteY20" fmla="*/ 462417 h 6858000"/>
              <a:gd name="connsiteX21" fmla="*/ 335056 w 1983504"/>
              <a:gd name="connsiteY21" fmla="*/ 465975 h 6858000"/>
              <a:gd name="connsiteX22" fmla="*/ 1270988 w 1983504"/>
              <a:gd name="connsiteY22" fmla="*/ 910606 h 6858000"/>
              <a:gd name="connsiteX23" fmla="*/ 1225701 w 1983504"/>
              <a:gd name="connsiteY23" fmla="*/ 921277 h 6858000"/>
              <a:gd name="connsiteX24" fmla="*/ 1165318 w 1983504"/>
              <a:gd name="connsiteY24" fmla="*/ 949734 h 6858000"/>
              <a:gd name="connsiteX25" fmla="*/ 1210606 w 1983504"/>
              <a:gd name="connsiteY25" fmla="*/ 1006647 h 6858000"/>
              <a:gd name="connsiteX26" fmla="*/ 1455156 w 1983504"/>
              <a:gd name="connsiteY26" fmla="*/ 1113358 h 6858000"/>
              <a:gd name="connsiteX27" fmla="*/ 1515538 w 1983504"/>
              <a:gd name="connsiteY27" fmla="*/ 1220069 h 6858000"/>
              <a:gd name="connsiteX28" fmla="*/ 1440060 w 1983504"/>
              <a:gd name="connsiteY28" fmla="*/ 1209399 h 6858000"/>
              <a:gd name="connsiteX29" fmla="*/ 1373640 w 1983504"/>
              <a:gd name="connsiteY29" fmla="*/ 1230741 h 6858000"/>
              <a:gd name="connsiteX30" fmla="*/ 1400810 w 1983504"/>
              <a:gd name="connsiteY30" fmla="*/ 1365909 h 6858000"/>
              <a:gd name="connsiteX31" fmla="*/ 1748012 w 1983504"/>
              <a:gd name="connsiteY31" fmla="*/ 1540204 h 6858000"/>
              <a:gd name="connsiteX32" fmla="*/ 1778203 w 1983504"/>
              <a:gd name="connsiteY32" fmla="*/ 1597117 h 6858000"/>
              <a:gd name="connsiteX33" fmla="*/ 1735936 w 1983504"/>
              <a:gd name="connsiteY33" fmla="*/ 1636245 h 6858000"/>
              <a:gd name="connsiteX34" fmla="*/ 1624228 w 1983504"/>
              <a:gd name="connsiteY34" fmla="*/ 1657587 h 6858000"/>
              <a:gd name="connsiteX35" fmla="*/ 1781223 w 1983504"/>
              <a:gd name="connsiteY35" fmla="*/ 1849668 h 6858000"/>
              <a:gd name="connsiteX36" fmla="*/ 1838587 w 1983504"/>
              <a:gd name="connsiteY36" fmla="*/ 1903025 h 6858000"/>
              <a:gd name="connsiteX37" fmla="*/ 1938218 w 1983504"/>
              <a:gd name="connsiteY37" fmla="*/ 1984836 h 6858000"/>
              <a:gd name="connsiteX38" fmla="*/ 1938218 w 1983504"/>
              <a:gd name="connsiteY38" fmla="*/ 2013292 h 6858000"/>
              <a:gd name="connsiteX39" fmla="*/ 1805376 w 1983504"/>
              <a:gd name="connsiteY39" fmla="*/ 2102219 h 6858000"/>
              <a:gd name="connsiteX40" fmla="*/ 1563844 w 1983504"/>
              <a:gd name="connsiteY40" fmla="*/ 2077320 h 6858000"/>
              <a:gd name="connsiteX41" fmla="*/ 1920104 w 1983504"/>
              <a:gd name="connsiteY41" fmla="*/ 2208931 h 6858000"/>
              <a:gd name="connsiteX42" fmla="*/ 766792 w 1983504"/>
              <a:gd name="connsiteY42" fmla="*/ 1892353 h 6858000"/>
              <a:gd name="connsiteX43" fmla="*/ 839252 w 1983504"/>
              <a:gd name="connsiteY43" fmla="*/ 1974165 h 6858000"/>
              <a:gd name="connsiteX44" fmla="*/ 1243816 w 1983504"/>
              <a:gd name="connsiteY44" fmla="*/ 2191146 h 6858000"/>
              <a:gd name="connsiteX45" fmla="*/ 1358543 w 1983504"/>
              <a:gd name="connsiteY45" fmla="*/ 2326314 h 6858000"/>
              <a:gd name="connsiteX46" fmla="*/ 1479310 w 1983504"/>
              <a:gd name="connsiteY46" fmla="*/ 2401012 h 6858000"/>
              <a:gd name="connsiteX47" fmla="*/ 1648381 w 1983504"/>
              <a:gd name="connsiteY47" fmla="*/ 2401012 h 6858000"/>
              <a:gd name="connsiteX48" fmla="*/ 1769146 w 1983504"/>
              <a:gd name="connsiteY48" fmla="*/ 2518395 h 6858000"/>
              <a:gd name="connsiteX49" fmla="*/ 1645361 w 1983504"/>
              <a:gd name="connsiteY49" fmla="*/ 2543294 h 6858000"/>
              <a:gd name="connsiteX50" fmla="*/ 1500444 w 1983504"/>
              <a:gd name="connsiteY50" fmla="*/ 2525509 h 6858000"/>
              <a:gd name="connsiteX51" fmla="*/ 1337410 w 1983504"/>
              <a:gd name="connsiteY51" fmla="*/ 2564636 h 6858000"/>
              <a:gd name="connsiteX52" fmla="*/ 1186452 w 1983504"/>
              <a:gd name="connsiteY52" fmla="*/ 2532623 h 6858000"/>
              <a:gd name="connsiteX53" fmla="*/ 1005304 w 1983504"/>
              <a:gd name="connsiteY53" fmla="*/ 2553965 h 6858000"/>
              <a:gd name="connsiteX54" fmla="*/ 947940 w 1983504"/>
              <a:gd name="connsiteY54" fmla="*/ 2692689 h 6858000"/>
              <a:gd name="connsiteX55" fmla="*/ 929826 w 1983504"/>
              <a:gd name="connsiteY55" fmla="*/ 2703362 h 6858000"/>
              <a:gd name="connsiteX56" fmla="*/ 594701 w 1983504"/>
              <a:gd name="connsiteY56" fmla="*/ 2923898 h 6858000"/>
              <a:gd name="connsiteX57" fmla="*/ 501108 w 1983504"/>
              <a:gd name="connsiteY57" fmla="*/ 2941684 h 6858000"/>
              <a:gd name="connsiteX58" fmla="*/ 1053610 w 1983504"/>
              <a:gd name="connsiteY58" fmla="*/ 3329402 h 6858000"/>
              <a:gd name="connsiteX59" fmla="*/ 682256 w 1983504"/>
              <a:gd name="connsiteY59" fmla="*/ 3229805 h 6858000"/>
              <a:gd name="connsiteX60" fmla="*/ 630932 w 1983504"/>
              <a:gd name="connsiteY60" fmla="*/ 3393429 h 6858000"/>
              <a:gd name="connsiteX61" fmla="*/ 806041 w 1983504"/>
              <a:gd name="connsiteY61" fmla="*/ 3539269 h 6858000"/>
              <a:gd name="connsiteX62" fmla="*/ 869444 w 1983504"/>
              <a:gd name="connsiteY62" fmla="*/ 3827390 h 6858000"/>
              <a:gd name="connsiteX63" fmla="*/ 839252 w 1983504"/>
              <a:gd name="connsiteY63" fmla="*/ 4090612 h 6858000"/>
              <a:gd name="connsiteX64" fmla="*/ 763774 w 1983504"/>
              <a:gd name="connsiteY64" fmla="*/ 4172424 h 6858000"/>
              <a:gd name="connsiteX65" fmla="*/ 655085 w 1983504"/>
              <a:gd name="connsiteY65" fmla="*/ 4321821 h 6858000"/>
              <a:gd name="connsiteX66" fmla="*/ 588662 w 1983504"/>
              <a:gd name="connsiteY66" fmla="*/ 4414305 h 6858000"/>
              <a:gd name="connsiteX67" fmla="*/ 356189 w 1983504"/>
              <a:gd name="connsiteY67" fmla="*/ 4378734 h 6858000"/>
              <a:gd name="connsiteX68" fmla="*/ 667160 w 1983504"/>
              <a:gd name="connsiteY68" fmla="*/ 4613499 h 6858000"/>
              <a:gd name="connsiteX69" fmla="*/ 416573 w 1983504"/>
              <a:gd name="connsiteY69" fmla="*/ 4585042 h 6858000"/>
              <a:gd name="connsiteX70" fmla="*/ 335056 w 1983504"/>
              <a:gd name="connsiteY70" fmla="*/ 4602828 h 6858000"/>
              <a:gd name="connsiteX71" fmla="*/ 380342 w 1983504"/>
              <a:gd name="connsiteY71" fmla="*/ 4677526 h 6858000"/>
              <a:gd name="connsiteX72" fmla="*/ 564510 w 1983504"/>
              <a:gd name="connsiteY72" fmla="*/ 4805580 h 6858000"/>
              <a:gd name="connsiteX73" fmla="*/ 944922 w 1983504"/>
              <a:gd name="connsiteY73" fmla="*/ 5154171 h 6858000"/>
              <a:gd name="connsiteX74" fmla="*/ 576586 w 1983504"/>
              <a:gd name="connsiteY74" fmla="*/ 4994104 h 6858000"/>
              <a:gd name="connsiteX75" fmla="*/ 963036 w 1983504"/>
              <a:gd name="connsiteY75" fmla="*/ 5353367 h 6858000"/>
              <a:gd name="connsiteX76" fmla="*/ 1047572 w 1983504"/>
              <a:gd name="connsiteY76" fmla="*/ 5474306 h 6858000"/>
              <a:gd name="connsiteX77" fmla="*/ 1222682 w 1983504"/>
              <a:gd name="connsiteY77" fmla="*/ 5769542 h 6858000"/>
              <a:gd name="connsiteX78" fmla="*/ 1213626 w 1983504"/>
              <a:gd name="connsiteY78" fmla="*/ 5801555 h 6858000"/>
              <a:gd name="connsiteX79" fmla="*/ 1014361 w 1983504"/>
              <a:gd name="connsiteY79" fmla="*/ 5755314 h 6858000"/>
              <a:gd name="connsiteX80" fmla="*/ 1274008 w 1983504"/>
              <a:gd name="connsiteY80" fmla="*/ 6004307 h 6858000"/>
              <a:gd name="connsiteX81" fmla="*/ 1542711 w 1983504"/>
              <a:gd name="connsiteY81" fmla="*/ 6196388 h 6858000"/>
              <a:gd name="connsiteX82" fmla="*/ 1352504 w 1983504"/>
              <a:gd name="connsiteY82" fmla="*/ 6167932 h 6858000"/>
              <a:gd name="connsiteX83" fmla="*/ 1089840 w 1983504"/>
              <a:gd name="connsiteY83" fmla="*/ 6057663 h 6858000"/>
              <a:gd name="connsiteX84" fmla="*/ 999266 w 1983504"/>
              <a:gd name="connsiteY84" fmla="*/ 6100347 h 6858000"/>
              <a:gd name="connsiteX85" fmla="*/ 1246836 w 1983504"/>
              <a:gd name="connsiteY85" fmla="*/ 6281757 h 6858000"/>
              <a:gd name="connsiteX86" fmla="*/ 1388735 w 1983504"/>
              <a:gd name="connsiteY86" fmla="*/ 6367127 h 6858000"/>
              <a:gd name="connsiteX87" fmla="*/ 1446099 w 1983504"/>
              <a:gd name="connsiteY87" fmla="*/ 6431153 h 6858000"/>
              <a:gd name="connsiteX88" fmla="*/ 1609132 w 1983504"/>
              <a:gd name="connsiteY88" fmla="*/ 6658805 h 6858000"/>
              <a:gd name="connsiteX89" fmla="*/ 1983504 w 1983504"/>
              <a:gd name="connsiteY89" fmla="*/ 6858000 h 6858000"/>
              <a:gd name="connsiteX90" fmla="*/ 0 w 1983504"/>
              <a:gd name="connsiteY9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983504" h="6858000">
                <a:moveTo>
                  <a:pt x="0" y="0"/>
                </a:moveTo>
                <a:lnTo>
                  <a:pt x="1376658" y="0"/>
                </a:lnTo>
                <a:cubicBezTo>
                  <a:pt x="1482328" y="35571"/>
                  <a:pt x="1584980" y="78255"/>
                  <a:pt x="1690650" y="110269"/>
                </a:cubicBezTo>
                <a:cubicBezTo>
                  <a:pt x="1675553" y="145839"/>
                  <a:pt x="1660458" y="138725"/>
                  <a:pt x="1645361" y="135168"/>
                </a:cubicBezTo>
                <a:cubicBezTo>
                  <a:pt x="1554788" y="120941"/>
                  <a:pt x="1461194" y="110269"/>
                  <a:pt x="1373640" y="71141"/>
                </a:cubicBezTo>
                <a:cubicBezTo>
                  <a:pt x="1352504" y="64027"/>
                  <a:pt x="1328352" y="64027"/>
                  <a:pt x="1319295" y="88927"/>
                </a:cubicBezTo>
                <a:cubicBezTo>
                  <a:pt x="1304199" y="124497"/>
                  <a:pt x="1325332" y="145839"/>
                  <a:pt x="1346468" y="163625"/>
                </a:cubicBezTo>
                <a:cubicBezTo>
                  <a:pt x="1382696" y="195638"/>
                  <a:pt x="1424964" y="188525"/>
                  <a:pt x="1464213" y="192082"/>
                </a:cubicBezTo>
                <a:cubicBezTo>
                  <a:pt x="1572902" y="209867"/>
                  <a:pt x="1624228" y="259665"/>
                  <a:pt x="1648381" y="373491"/>
                </a:cubicBezTo>
                <a:cubicBezTo>
                  <a:pt x="1554788" y="327250"/>
                  <a:pt x="1461194" y="384162"/>
                  <a:pt x="1370620" y="352148"/>
                </a:cubicBezTo>
                <a:cubicBezTo>
                  <a:pt x="1346468" y="345034"/>
                  <a:pt x="1310237" y="355706"/>
                  <a:pt x="1322314" y="394834"/>
                </a:cubicBezTo>
                <a:cubicBezTo>
                  <a:pt x="1334390" y="430405"/>
                  <a:pt x="1373640" y="458860"/>
                  <a:pt x="1304199" y="451747"/>
                </a:cubicBezTo>
                <a:cubicBezTo>
                  <a:pt x="1252873" y="448189"/>
                  <a:pt x="1237778" y="405504"/>
                  <a:pt x="1222682" y="359262"/>
                </a:cubicBezTo>
                <a:cubicBezTo>
                  <a:pt x="1210606" y="334364"/>
                  <a:pt x="1177395" y="320135"/>
                  <a:pt x="1153242" y="334364"/>
                </a:cubicBezTo>
                <a:cubicBezTo>
                  <a:pt x="1123051" y="348592"/>
                  <a:pt x="1132108" y="387720"/>
                  <a:pt x="1132108" y="416176"/>
                </a:cubicBezTo>
                <a:cubicBezTo>
                  <a:pt x="1129088" y="469532"/>
                  <a:pt x="1153242" y="494431"/>
                  <a:pt x="1195509" y="505101"/>
                </a:cubicBezTo>
                <a:cubicBezTo>
                  <a:pt x="1246836" y="519330"/>
                  <a:pt x="1298160" y="537116"/>
                  <a:pt x="1364582" y="558458"/>
                </a:cubicBezTo>
                <a:cubicBezTo>
                  <a:pt x="1292122" y="594028"/>
                  <a:pt x="1237778" y="586915"/>
                  <a:pt x="1183434" y="558458"/>
                </a:cubicBezTo>
                <a:cubicBezTo>
                  <a:pt x="1117012" y="526444"/>
                  <a:pt x="1029458" y="483759"/>
                  <a:pt x="975114" y="522887"/>
                </a:cubicBezTo>
                <a:cubicBezTo>
                  <a:pt x="893597" y="579800"/>
                  <a:pt x="827176" y="544229"/>
                  <a:pt x="754716" y="533558"/>
                </a:cubicBezTo>
                <a:cubicBezTo>
                  <a:pt x="603758" y="512216"/>
                  <a:pt x="697352" y="480203"/>
                  <a:pt x="546395" y="462417"/>
                </a:cubicBezTo>
                <a:cubicBezTo>
                  <a:pt x="486012" y="455303"/>
                  <a:pt x="422610" y="426847"/>
                  <a:pt x="335056" y="465975"/>
                </a:cubicBezTo>
                <a:cubicBezTo>
                  <a:pt x="730563" y="672284"/>
                  <a:pt x="917750" y="658055"/>
                  <a:pt x="1270988" y="910606"/>
                </a:cubicBezTo>
                <a:cubicBezTo>
                  <a:pt x="1255893" y="935506"/>
                  <a:pt x="1240798" y="924835"/>
                  <a:pt x="1225701" y="921277"/>
                </a:cubicBezTo>
                <a:cubicBezTo>
                  <a:pt x="1201548" y="917720"/>
                  <a:pt x="1171356" y="903491"/>
                  <a:pt x="1165318" y="949734"/>
                </a:cubicBezTo>
                <a:cubicBezTo>
                  <a:pt x="1162298" y="985305"/>
                  <a:pt x="1180415" y="1003089"/>
                  <a:pt x="1210606" y="1006647"/>
                </a:cubicBezTo>
                <a:cubicBezTo>
                  <a:pt x="1298160" y="1020875"/>
                  <a:pt x="1376658" y="1070674"/>
                  <a:pt x="1455156" y="1113358"/>
                </a:cubicBezTo>
                <a:cubicBezTo>
                  <a:pt x="1491385" y="1131144"/>
                  <a:pt x="1530634" y="1156043"/>
                  <a:pt x="1515538" y="1220069"/>
                </a:cubicBezTo>
                <a:cubicBezTo>
                  <a:pt x="1485348" y="1237855"/>
                  <a:pt x="1464213" y="1212955"/>
                  <a:pt x="1440060" y="1209399"/>
                </a:cubicBezTo>
                <a:cubicBezTo>
                  <a:pt x="1415907" y="1205842"/>
                  <a:pt x="1358543" y="1220069"/>
                  <a:pt x="1373640" y="1230741"/>
                </a:cubicBezTo>
                <a:cubicBezTo>
                  <a:pt x="1443080" y="1269868"/>
                  <a:pt x="1316276" y="1365909"/>
                  <a:pt x="1400810" y="1365909"/>
                </a:cubicBezTo>
                <a:cubicBezTo>
                  <a:pt x="1539691" y="1365909"/>
                  <a:pt x="1615170" y="1536647"/>
                  <a:pt x="1748012" y="1540204"/>
                </a:cubicBezTo>
                <a:cubicBezTo>
                  <a:pt x="1769146" y="1540204"/>
                  <a:pt x="1778203" y="1572219"/>
                  <a:pt x="1778203" y="1597117"/>
                </a:cubicBezTo>
                <a:cubicBezTo>
                  <a:pt x="1778203" y="1629132"/>
                  <a:pt x="1757070" y="1632688"/>
                  <a:pt x="1735936" y="1636245"/>
                </a:cubicBezTo>
                <a:cubicBezTo>
                  <a:pt x="1702725" y="1639802"/>
                  <a:pt x="1666496" y="1597117"/>
                  <a:pt x="1624228" y="1657587"/>
                </a:cubicBezTo>
                <a:cubicBezTo>
                  <a:pt x="1702725" y="1693158"/>
                  <a:pt x="1784242" y="1728729"/>
                  <a:pt x="1781223" y="1849668"/>
                </a:cubicBezTo>
                <a:cubicBezTo>
                  <a:pt x="1781223" y="1881683"/>
                  <a:pt x="1814434" y="1895910"/>
                  <a:pt x="1838587" y="1903025"/>
                </a:cubicBezTo>
                <a:cubicBezTo>
                  <a:pt x="1880854" y="1917252"/>
                  <a:pt x="1914065" y="1938595"/>
                  <a:pt x="1938218" y="1984836"/>
                </a:cubicBezTo>
                <a:cubicBezTo>
                  <a:pt x="1938218" y="1995507"/>
                  <a:pt x="1938218" y="2002622"/>
                  <a:pt x="1938218" y="2013292"/>
                </a:cubicBezTo>
                <a:cubicBezTo>
                  <a:pt x="1932180" y="2123562"/>
                  <a:pt x="1871798" y="2120004"/>
                  <a:pt x="1805376" y="2102219"/>
                </a:cubicBezTo>
                <a:cubicBezTo>
                  <a:pt x="1726878" y="2080877"/>
                  <a:pt x="1648381" y="2038192"/>
                  <a:pt x="1563844" y="2077320"/>
                </a:cubicBezTo>
                <a:cubicBezTo>
                  <a:pt x="1681592" y="2130676"/>
                  <a:pt x="1811414" y="2134233"/>
                  <a:pt x="1920104" y="2208931"/>
                </a:cubicBezTo>
                <a:cubicBezTo>
                  <a:pt x="1515538" y="2223159"/>
                  <a:pt x="1159280" y="1984836"/>
                  <a:pt x="766792" y="1892353"/>
                </a:cubicBezTo>
                <a:cubicBezTo>
                  <a:pt x="778869" y="1952823"/>
                  <a:pt x="812080" y="1967051"/>
                  <a:pt x="839252" y="1974165"/>
                </a:cubicBezTo>
                <a:cubicBezTo>
                  <a:pt x="984170" y="2020407"/>
                  <a:pt x="1110974" y="2112891"/>
                  <a:pt x="1243816" y="2191146"/>
                </a:cubicBezTo>
                <a:cubicBezTo>
                  <a:pt x="1298160" y="2223159"/>
                  <a:pt x="1337410" y="2258731"/>
                  <a:pt x="1358543" y="2326314"/>
                </a:cubicBezTo>
                <a:cubicBezTo>
                  <a:pt x="1376658" y="2390340"/>
                  <a:pt x="1412888" y="2418796"/>
                  <a:pt x="1479310" y="2401012"/>
                </a:cubicBezTo>
                <a:cubicBezTo>
                  <a:pt x="1533654" y="2386784"/>
                  <a:pt x="1591018" y="2393898"/>
                  <a:pt x="1648381" y="2401012"/>
                </a:cubicBezTo>
                <a:cubicBezTo>
                  <a:pt x="1711782" y="2408126"/>
                  <a:pt x="1784242" y="2479267"/>
                  <a:pt x="1769146" y="2518395"/>
                </a:cubicBezTo>
                <a:cubicBezTo>
                  <a:pt x="1738956" y="2582422"/>
                  <a:pt x="1687630" y="2550408"/>
                  <a:pt x="1645361" y="2543294"/>
                </a:cubicBezTo>
                <a:cubicBezTo>
                  <a:pt x="1594036" y="2536181"/>
                  <a:pt x="1500444" y="2518395"/>
                  <a:pt x="1500444" y="2525509"/>
                </a:cubicBezTo>
                <a:cubicBezTo>
                  <a:pt x="1467232" y="2685576"/>
                  <a:pt x="1391754" y="2564636"/>
                  <a:pt x="1337410" y="2564636"/>
                </a:cubicBezTo>
                <a:cubicBezTo>
                  <a:pt x="1286084" y="2564636"/>
                  <a:pt x="1234759" y="2546851"/>
                  <a:pt x="1186452" y="2532623"/>
                </a:cubicBezTo>
                <a:cubicBezTo>
                  <a:pt x="1123051" y="2514837"/>
                  <a:pt x="1065688" y="2546851"/>
                  <a:pt x="1005304" y="2553965"/>
                </a:cubicBezTo>
                <a:cubicBezTo>
                  <a:pt x="950960" y="2561080"/>
                  <a:pt x="981150" y="2653563"/>
                  <a:pt x="947940" y="2692689"/>
                </a:cubicBezTo>
                <a:cubicBezTo>
                  <a:pt x="941903" y="2703362"/>
                  <a:pt x="935864" y="2703362"/>
                  <a:pt x="929826" y="2703362"/>
                </a:cubicBezTo>
                <a:cubicBezTo>
                  <a:pt x="911711" y="2980812"/>
                  <a:pt x="594701" y="2913227"/>
                  <a:pt x="594701" y="2923898"/>
                </a:cubicBezTo>
                <a:cubicBezTo>
                  <a:pt x="567529" y="2941684"/>
                  <a:pt x="534318" y="2899000"/>
                  <a:pt x="501108" y="2941684"/>
                </a:cubicBezTo>
                <a:cubicBezTo>
                  <a:pt x="643007" y="3137322"/>
                  <a:pt x="860386" y="3183563"/>
                  <a:pt x="1053610" y="3329402"/>
                </a:cubicBezTo>
                <a:cubicBezTo>
                  <a:pt x="893597" y="3379202"/>
                  <a:pt x="800002" y="3208463"/>
                  <a:pt x="682256" y="3229805"/>
                </a:cubicBezTo>
                <a:cubicBezTo>
                  <a:pt x="624893" y="3283162"/>
                  <a:pt x="796984" y="3368530"/>
                  <a:pt x="630932" y="3393429"/>
                </a:cubicBezTo>
                <a:cubicBezTo>
                  <a:pt x="703390" y="3439672"/>
                  <a:pt x="754716" y="3485914"/>
                  <a:pt x="806041" y="3539269"/>
                </a:cubicBezTo>
                <a:cubicBezTo>
                  <a:pt x="893597" y="3635309"/>
                  <a:pt x="911711" y="3699337"/>
                  <a:pt x="869444" y="3827390"/>
                </a:cubicBezTo>
                <a:cubicBezTo>
                  <a:pt x="842270" y="3912759"/>
                  <a:pt x="803022" y="3991015"/>
                  <a:pt x="839252" y="4090612"/>
                </a:cubicBezTo>
                <a:cubicBezTo>
                  <a:pt x="863405" y="4158196"/>
                  <a:pt x="854347" y="4204438"/>
                  <a:pt x="763774" y="4172424"/>
                </a:cubicBezTo>
                <a:cubicBezTo>
                  <a:pt x="667160" y="4140411"/>
                  <a:pt x="630932" y="4200882"/>
                  <a:pt x="655085" y="4321821"/>
                </a:cubicBezTo>
                <a:cubicBezTo>
                  <a:pt x="670179" y="4400076"/>
                  <a:pt x="655085" y="4424975"/>
                  <a:pt x="588662" y="4414305"/>
                </a:cubicBezTo>
                <a:cubicBezTo>
                  <a:pt x="516204" y="4403633"/>
                  <a:pt x="446764" y="4353835"/>
                  <a:pt x="356189" y="4378734"/>
                </a:cubicBezTo>
                <a:cubicBezTo>
                  <a:pt x="428648" y="4521016"/>
                  <a:pt x="582626" y="4478331"/>
                  <a:pt x="667160" y="4613499"/>
                </a:cubicBezTo>
                <a:cubicBezTo>
                  <a:pt x="567529" y="4613499"/>
                  <a:pt x="489031" y="4613499"/>
                  <a:pt x="416573" y="4585042"/>
                </a:cubicBezTo>
                <a:cubicBezTo>
                  <a:pt x="386381" y="4574373"/>
                  <a:pt x="353170" y="4560144"/>
                  <a:pt x="335056" y="4602828"/>
                </a:cubicBezTo>
                <a:cubicBezTo>
                  <a:pt x="313920" y="4652628"/>
                  <a:pt x="356189" y="4670412"/>
                  <a:pt x="380342" y="4677526"/>
                </a:cubicBezTo>
                <a:cubicBezTo>
                  <a:pt x="449784" y="4702425"/>
                  <a:pt x="504126" y="4759339"/>
                  <a:pt x="564510" y="4805580"/>
                </a:cubicBezTo>
                <a:cubicBezTo>
                  <a:pt x="694332" y="4905177"/>
                  <a:pt x="836233" y="4990547"/>
                  <a:pt x="944922" y="5154171"/>
                </a:cubicBezTo>
                <a:cubicBezTo>
                  <a:pt x="809060" y="5111487"/>
                  <a:pt x="706410" y="5011889"/>
                  <a:pt x="576586" y="4994104"/>
                </a:cubicBezTo>
                <a:cubicBezTo>
                  <a:pt x="688296" y="5143500"/>
                  <a:pt x="830194" y="5243097"/>
                  <a:pt x="963036" y="5353367"/>
                </a:cubicBezTo>
                <a:cubicBezTo>
                  <a:pt x="1002286" y="5385379"/>
                  <a:pt x="1041534" y="5406721"/>
                  <a:pt x="1047572" y="5474306"/>
                </a:cubicBezTo>
                <a:cubicBezTo>
                  <a:pt x="1065688" y="5605917"/>
                  <a:pt x="1113992" y="5712629"/>
                  <a:pt x="1222682" y="5769542"/>
                </a:cubicBezTo>
                <a:cubicBezTo>
                  <a:pt x="1222682" y="5769542"/>
                  <a:pt x="1216644" y="5790884"/>
                  <a:pt x="1213626" y="5801555"/>
                </a:cubicBezTo>
                <a:cubicBezTo>
                  <a:pt x="1147203" y="5805112"/>
                  <a:pt x="1095878" y="5726858"/>
                  <a:pt x="1014361" y="5755314"/>
                </a:cubicBezTo>
                <a:cubicBezTo>
                  <a:pt x="1095878" y="5862025"/>
                  <a:pt x="1162298" y="5954508"/>
                  <a:pt x="1274008" y="6004307"/>
                </a:cubicBezTo>
                <a:cubicBezTo>
                  <a:pt x="1364582" y="6043434"/>
                  <a:pt x="1476290" y="6068335"/>
                  <a:pt x="1542711" y="6196388"/>
                </a:cubicBezTo>
                <a:cubicBezTo>
                  <a:pt x="1467232" y="6221287"/>
                  <a:pt x="1409868" y="6189274"/>
                  <a:pt x="1352504" y="6167932"/>
                </a:cubicBezTo>
                <a:cubicBezTo>
                  <a:pt x="1264950" y="6132361"/>
                  <a:pt x="1177395" y="6093234"/>
                  <a:pt x="1089840" y="6057663"/>
                </a:cubicBezTo>
                <a:cubicBezTo>
                  <a:pt x="1056628" y="6043434"/>
                  <a:pt x="1020400" y="6036320"/>
                  <a:pt x="999266" y="6100347"/>
                </a:cubicBezTo>
                <a:cubicBezTo>
                  <a:pt x="1110974" y="6114575"/>
                  <a:pt x="1177395" y="6199945"/>
                  <a:pt x="1246836" y="6281757"/>
                </a:cubicBezTo>
                <a:cubicBezTo>
                  <a:pt x="1286084" y="6327999"/>
                  <a:pt x="1319295" y="6388469"/>
                  <a:pt x="1388735" y="6367127"/>
                </a:cubicBezTo>
                <a:cubicBezTo>
                  <a:pt x="1424964" y="6356456"/>
                  <a:pt x="1449118" y="6388469"/>
                  <a:pt x="1446099" y="6431153"/>
                </a:cubicBezTo>
                <a:cubicBezTo>
                  <a:pt x="1431002" y="6580550"/>
                  <a:pt x="1518558" y="6630349"/>
                  <a:pt x="1609132" y="6658805"/>
                </a:cubicBezTo>
                <a:cubicBezTo>
                  <a:pt x="1741974" y="6701489"/>
                  <a:pt x="1859720" y="6786859"/>
                  <a:pt x="1983504" y="6858000"/>
                </a:cubicBezTo>
                <a:lnTo>
                  <a:pt x="0" y="6858000"/>
                </a:lnTo>
                <a:close/>
              </a:path>
            </a:pathLst>
          </a:custGeom>
          <a:solidFill>
            <a:schemeClr val="bg2">
              <a:alpha val="50000"/>
            </a:schemeClr>
          </a:solidFill>
          <a:ln w="32707" cap="flat">
            <a:noFill/>
            <a:prstDash val="solid"/>
            <a:miter/>
          </a:ln>
        </p:spPr>
        <p:txBody>
          <a:bodyPr wrap="square" rtlCol="0" anchor="ctr">
            <a:noAutofit/>
          </a:bodyPr>
          <a:lstStyle/>
          <a:p>
            <a:pPr algn="ctr"/>
            <a:endParaRPr lang="en-US"/>
          </a:p>
        </p:txBody>
      </p:sp>
      <p:pic>
        <p:nvPicPr>
          <p:cNvPr id="2" name="Picture 1">
            <a:extLst>
              <a:ext uri="{FF2B5EF4-FFF2-40B4-BE49-F238E27FC236}">
                <a16:creationId xmlns:a16="http://schemas.microsoft.com/office/drawing/2014/main" id="{1DB632E0-9AFE-B7EA-89E4-F54046C0E0EF}"/>
              </a:ext>
            </a:extLst>
          </p:cNvPr>
          <p:cNvPicPr>
            <a:picLocks noChangeAspect="1"/>
          </p:cNvPicPr>
          <p:nvPr/>
        </p:nvPicPr>
        <p:blipFill>
          <a:blip r:embed="rId2"/>
          <a:stretch>
            <a:fillRect/>
          </a:stretch>
        </p:blipFill>
        <p:spPr>
          <a:xfrm>
            <a:off x="407252" y="0"/>
            <a:ext cx="11377495" cy="6858000"/>
          </a:xfrm>
          <a:prstGeom prst="rect">
            <a:avLst/>
          </a:prstGeom>
        </p:spPr>
      </p:pic>
    </p:spTree>
    <p:extLst>
      <p:ext uri="{BB962C8B-B14F-4D97-AF65-F5344CB8AC3E}">
        <p14:creationId xmlns:p14="http://schemas.microsoft.com/office/powerpoint/2010/main" val="40018320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122A184-CA7D-43A5-9D61-D7B26FFE7A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4" name="Object 13" hidden="1">
                        <a:extLst>
                          <a:ext uri="{FF2B5EF4-FFF2-40B4-BE49-F238E27FC236}">
                            <a16:creationId xmlns:a16="http://schemas.microsoft.com/office/drawing/2014/main" id="{C122A184-CA7D-43A5-9D61-D7B26FFE7A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3">
            <a:extLst>
              <a:ext uri="{FF2B5EF4-FFF2-40B4-BE49-F238E27FC236}">
                <a16:creationId xmlns:a16="http://schemas.microsoft.com/office/drawing/2014/main" id="{3382971B-B57D-54A5-CEAF-2BC112F7FAAA}"/>
              </a:ext>
            </a:extLst>
          </p:cNvPr>
          <p:cNvSpPr>
            <a:spLocks noGrp="1"/>
          </p:cNvSpPr>
          <p:nvPr>
            <p:ph type="title"/>
          </p:nvPr>
        </p:nvSpPr>
        <p:spPr>
          <a:xfrm>
            <a:off x="647662" y="1193486"/>
            <a:ext cx="11338560" cy="597699"/>
          </a:xfrm>
        </p:spPr>
        <p:txBody>
          <a:bodyPr>
            <a:normAutofit fontScale="90000"/>
          </a:bodyPr>
          <a:lstStyle/>
          <a:p>
            <a:br>
              <a:rPr lang="en-US" sz="2000" b="0" dirty="0">
                <a:latin typeface="Arial" panose="020B0604020202020204" pitchFamily="34" charset="0"/>
                <a:cs typeface="Arial" panose="020B0604020202020204" pitchFamily="34" charset="0"/>
              </a:rPr>
            </a:br>
            <a:r>
              <a:rPr lang="en-US" sz="2000" b="0" dirty="0">
                <a:latin typeface="Arial" panose="020B0604020202020204" pitchFamily="34" charset="0"/>
                <a:cs typeface="Arial" panose="020B0604020202020204" pitchFamily="34" charset="0"/>
              </a:rPr>
              <a:t>Launched in 2019 by </a:t>
            </a:r>
            <a:r>
              <a:rPr lang="en-US" sz="2000" b="0" dirty="0" err="1">
                <a:latin typeface="Arial" panose="020B0604020202020204" pitchFamily="34" charset="0"/>
                <a:cs typeface="Arial" panose="020B0604020202020204" pitchFamily="34" charset="0"/>
              </a:rPr>
              <a:t>MoEFCC</a:t>
            </a:r>
            <a:r>
              <a:rPr lang="en-US" sz="2000" b="0" dirty="0">
                <a:latin typeface="Arial" panose="020B0604020202020204" pitchFamily="34" charset="0"/>
                <a:cs typeface="Arial" panose="020B0604020202020204" pitchFamily="34" charset="0"/>
              </a:rPr>
              <a:t>, aiming to improve air quality of cities , states and UTs’</a:t>
            </a:r>
          </a:p>
        </p:txBody>
      </p:sp>
      <p:grpSp>
        <p:nvGrpSpPr>
          <p:cNvPr id="19" name="Group 18">
            <a:extLst>
              <a:ext uri="{FF2B5EF4-FFF2-40B4-BE49-F238E27FC236}">
                <a16:creationId xmlns:a16="http://schemas.microsoft.com/office/drawing/2014/main" id="{05054030-4041-E133-B9EE-8816B5D8AF0B}"/>
              </a:ext>
            </a:extLst>
          </p:cNvPr>
          <p:cNvGrpSpPr/>
          <p:nvPr/>
        </p:nvGrpSpPr>
        <p:grpSpPr>
          <a:xfrm>
            <a:off x="539378" y="2344577"/>
            <a:ext cx="11113243" cy="4400937"/>
            <a:chOff x="629178" y="1705479"/>
            <a:chExt cx="11113243" cy="4593721"/>
          </a:xfrm>
        </p:grpSpPr>
        <p:sp>
          <p:nvSpPr>
            <p:cNvPr id="5" name="Rectangle: Rounded Corners 4">
              <a:extLst>
                <a:ext uri="{FF2B5EF4-FFF2-40B4-BE49-F238E27FC236}">
                  <a16:creationId xmlns:a16="http://schemas.microsoft.com/office/drawing/2014/main" id="{914B0320-D03C-49A7-9BF0-5046D4129DD2}"/>
                </a:ext>
              </a:extLst>
            </p:cNvPr>
            <p:cNvSpPr/>
            <p:nvPr/>
          </p:nvSpPr>
          <p:spPr>
            <a:xfrm>
              <a:off x="629178" y="1705479"/>
              <a:ext cx="2359742" cy="1789471"/>
            </a:xfrm>
            <a:prstGeom prst="roundRect">
              <a:avLst>
                <a:gd name="adj" fmla="val 8425"/>
              </a:avLst>
            </a:prstGeom>
            <a:noFill/>
            <a:ln w="190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4" name="Rectangle: Rounded Corners 3">
              <a:extLst>
                <a:ext uri="{FF2B5EF4-FFF2-40B4-BE49-F238E27FC236}">
                  <a16:creationId xmlns:a16="http://schemas.microsoft.com/office/drawing/2014/main" id="{3824AEF6-B436-449B-8D3F-66676094A611}"/>
                </a:ext>
              </a:extLst>
            </p:cNvPr>
            <p:cNvSpPr/>
            <p:nvPr/>
          </p:nvSpPr>
          <p:spPr>
            <a:xfrm>
              <a:off x="803209" y="1882216"/>
              <a:ext cx="2011680" cy="2801703"/>
            </a:xfrm>
            <a:prstGeom prst="roundRect">
              <a:avLst>
                <a:gd name="adj" fmla="val 909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dirty="0" err="1">
                <a:solidFill>
                  <a:schemeClr val="accent1"/>
                </a:solidFill>
              </a:endParaRPr>
            </a:p>
          </p:txBody>
        </p:sp>
        <p:sp>
          <p:nvSpPr>
            <p:cNvPr id="23" name="Rectangle 22">
              <a:extLst>
                <a:ext uri="{FF2B5EF4-FFF2-40B4-BE49-F238E27FC236}">
                  <a16:creationId xmlns:a16="http://schemas.microsoft.com/office/drawing/2014/main" id="{7BBEC742-179D-47BF-898F-A979CB031A45}"/>
                </a:ext>
              </a:extLst>
            </p:cNvPr>
            <p:cNvSpPr>
              <a:spLocks/>
            </p:cNvSpPr>
            <p:nvPr/>
          </p:nvSpPr>
          <p:spPr>
            <a:xfrm>
              <a:off x="796326" y="2894447"/>
              <a:ext cx="2011680" cy="17894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noAutofit/>
            </a:bodyPr>
            <a:lstStyle/>
            <a:p>
              <a:pPr algn="ctr">
                <a:spcBef>
                  <a:spcPts val="600"/>
                </a:spcBef>
              </a:pPr>
              <a:r>
                <a:rPr lang="en-US" sz="1600" b="1" dirty="0">
                  <a:solidFill>
                    <a:schemeClr val="accent1"/>
                  </a:solidFill>
                  <a:latin typeface="Arial" panose="020B0604020202020204" pitchFamily="34" charset="0"/>
                  <a:cs typeface="Arial" panose="020B0604020202020204" pitchFamily="34" charset="0"/>
                </a:rPr>
                <a:t>Target</a:t>
              </a:r>
            </a:p>
            <a:p>
              <a:pPr>
                <a:spcBef>
                  <a:spcPts val="600"/>
                </a:spcBef>
              </a:pPr>
              <a:r>
                <a:rPr lang="en-US" sz="1400" dirty="0">
                  <a:solidFill>
                    <a:schemeClr val="tx1"/>
                  </a:solidFill>
                  <a:latin typeface="Arial" panose="020B0604020202020204" pitchFamily="34" charset="0"/>
                  <a:cs typeface="Arial" panose="020B0604020202020204" pitchFamily="34" charset="0"/>
                </a:rPr>
                <a:t>National level target</a:t>
              </a:r>
            </a:p>
            <a:p>
              <a:pPr>
                <a:spcBef>
                  <a:spcPts val="600"/>
                </a:spcBef>
              </a:pPr>
              <a:r>
                <a:rPr lang="en-US" sz="1400" dirty="0">
                  <a:solidFill>
                    <a:schemeClr val="tx1"/>
                  </a:solidFill>
                  <a:latin typeface="Arial" panose="020B0604020202020204" pitchFamily="34" charset="0"/>
                  <a:cs typeface="Arial" panose="020B0604020202020204" pitchFamily="34" charset="0"/>
                </a:rPr>
                <a:t>of 20-30% reduction</a:t>
              </a:r>
            </a:p>
            <a:p>
              <a:pPr>
                <a:spcBef>
                  <a:spcPts val="600"/>
                </a:spcBef>
              </a:pPr>
              <a:r>
                <a:rPr lang="en-US" sz="1400" dirty="0">
                  <a:solidFill>
                    <a:schemeClr val="tx1"/>
                  </a:solidFill>
                  <a:latin typeface="Arial" panose="020B0604020202020204" pitchFamily="34" charset="0"/>
                  <a:cs typeface="Arial" panose="020B0604020202020204" pitchFamily="34" charset="0"/>
                </a:rPr>
                <a:t>of PM2.5 and PM10</a:t>
              </a:r>
            </a:p>
            <a:p>
              <a:pPr>
                <a:spcBef>
                  <a:spcPts val="600"/>
                </a:spcBef>
              </a:pPr>
              <a:r>
                <a:rPr lang="en-US" sz="1400" dirty="0">
                  <a:solidFill>
                    <a:schemeClr val="tx1"/>
                  </a:solidFill>
                  <a:latin typeface="Arial" panose="020B0604020202020204" pitchFamily="34" charset="0"/>
                  <a:cs typeface="Arial" panose="020B0604020202020204" pitchFamily="34" charset="0"/>
                </a:rPr>
                <a:t>concentration by 2024</a:t>
              </a:r>
              <a:r>
                <a:rPr lang="en-US" sz="1400" dirty="0">
                  <a:solidFill>
                    <a:schemeClr val="tx1"/>
                  </a:solidFill>
                </a:rPr>
                <a:t>.</a:t>
              </a:r>
            </a:p>
          </p:txBody>
        </p:sp>
        <p:sp>
          <p:nvSpPr>
            <p:cNvPr id="11" name="Rectangle: Rounded Corners 10">
              <a:extLst>
                <a:ext uri="{FF2B5EF4-FFF2-40B4-BE49-F238E27FC236}">
                  <a16:creationId xmlns:a16="http://schemas.microsoft.com/office/drawing/2014/main" id="{8E013C54-3466-43EC-88DD-49B5186183BA}"/>
                </a:ext>
              </a:extLst>
            </p:cNvPr>
            <p:cNvSpPr/>
            <p:nvPr/>
          </p:nvSpPr>
          <p:spPr>
            <a:xfrm>
              <a:off x="3533570" y="1705479"/>
              <a:ext cx="2359742" cy="1789471"/>
            </a:xfrm>
            <a:prstGeom prst="roundRect">
              <a:avLst>
                <a:gd name="adj" fmla="val 8425"/>
              </a:avLst>
            </a:prstGeom>
            <a:noFill/>
            <a:ln w="19050" cap="rnd">
              <a:solidFill>
                <a:schemeClr val="accent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Rounded Corners 5">
              <a:extLst>
                <a:ext uri="{FF2B5EF4-FFF2-40B4-BE49-F238E27FC236}">
                  <a16:creationId xmlns:a16="http://schemas.microsoft.com/office/drawing/2014/main" id="{3777D9BB-C5B2-4BB4-8A39-8332F5263138}"/>
                </a:ext>
              </a:extLst>
            </p:cNvPr>
            <p:cNvSpPr/>
            <p:nvPr/>
          </p:nvSpPr>
          <p:spPr>
            <a:xfrm>
              <a:off x="3707601" y="1882216"/>
              <a:ext cx="2011680" cy="4416984"/>
            </a:xfrm>
            <a:prstGeom prst="roundRect">
              <a:avLst>
                <a:gd name="adj" fmla="val 909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6" name="Rectangle: Rounded Corners 15">
              <a:extLst>
                <a:ext uri="{FF2B5EF4-FFF2-40B4-BE49-F238E27FC236}">
                  <a16:creationId xmlns:a16="http://schemas.microsoft.com/office/drawing/2014/main" id="{2F92CDBD-3504-4833-AB9E-C84F065ACD1E}"/>
                </a:ext>
              </a:extLst>
            </p:cNvPr>
            <p:cNvSpPr/>
            <p:nvPr/>
          </p:nvSpPr>
          <p:spPr>
            <a:xfrm>
              <a:off x="3290331" y="2344577"/>
              <a:ext cx="1110614" cy="412954"/>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2400" b="1" dirty="0"/>
                <a:t>2</a:t>
              </a:r>
            </a:p>
          </p:txBody>
        </p:sp>
        <p:sp>
          <p:nvSpPr>
            <p:cNvPr id="24" name="Rectangle 23">
              <a:extLst>
                <a:ext uri="{FF2B5EF4-FFF2-40B4-BE49-F238E27FC236}">
                  <a16:creationId xmlns:a16="http://schemas.microsoft.com/office/drawing/2014/main" id="{BB00B2C1-0E3B-44E6-83C3-DD425DA10750}"/>
                </a:ext>
              </a:extLst>
            </p:cNvPr>
            <p:cNvSpPr>
              <a:spLocks/>
            </p:cNvSpPr>
            <p:nvPr/>
          </p:nvSpPr>
          <p:spPr>
            <a:xfrm>
              <a:off x="3690886" y="2894446"/>
              <a:ext cx="2011680" cy="33841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noAutofit/>
            </a:bodyPr>
            <a:lstStyle/>
            <a:p>
              <a:pPr algn="ctr">
                <a:spcBef>
                  <a:spcPts val="600"/>
                </a:spcBef>
              </a:pPr>
              <a:r>
                <a:rPr lang="en-US" sz="1600" b="1" dirty="0">
                  <a:solidFill>
                    <a:schemeClr val="accent2"/>
                  </a:solidFill>
                  <a:latin typeface="Arial" panose="020B0604020202020204" pitchFamily="34" charset="0"/>
                  <a:cs typeface="Arial" panose="020B0604020202020204" pitchFamily="34" charset="0"/>
                </a:rPr>
                <a:t>Tenure</a:t>
              </a:r>
            </a:p>
            <a:p>
              <a:pPr marL="285750" indent="-285750">
                <a:spcBef>
                  <a:spcPts val="600"/>
                </a:spcBef>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Mid-term five (5) years action plan to begin with keeping 2019 as base year.</a:t>
              </a:r>
            </a:p>
            <a:p>
              <a:pPr marL="285750" indent="-285750">
                <a:spcBef>
                  <a:spcPts val="600"/>
                </a:spcBef>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Further extendable to 20-25 years in long-term after mid-term review of the outcomes.</a:t>
              </a:r>
            </a:p>
          </p:txBody>
        </p:sp>
        <p:sp>
          <p:nvSpPr>
            <p:cNvPr id="12" name="Rectangle: Rounded Corners 11">
              <a:extLst>
                <a:ext uri="{FF2B5EF4-FFF2-40B4-BE49-F238E27FC236}">
                  <a16:creationId xmlns:a16="http://schemas.microsoft.com/office/drawing/2014/main" id="{92232C75-5449-45E4-87DF-50692595DB09}"/>
                </a:ext>
              </a:extLst>
            </p:cNvPr>
            <p:cNvSpPr/>
            <p:nvPr/>
          </p:nvSpPr>
          <p:spPr>
            <a:xfrm>
              <a:off x="9382679" y="1705479"/>
              <a:ext cx="2359742" cy="1789471"/>
            </a:xfrm>
            <a:prstGeom prst="roundRect">
              <a:avLst>
                <a:gd name="adj" fmla="val 8425"/>
              </a:avLst>
            </a:prstGeom>
            <a:noFill/>
            <a:ln w="19050" cap="rnd">
              <a:solidFill>
                <a:schemeClr val="accent3"/>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7" name="Rectangle: Rounded Corners 6">
              <a:extLst>
                <a:ext uri="{FF2B5EF4-FFF2-40B4-BE49-F238E27FC236}">
                  <a16:creationId xmlns:a16="http://schemas.microsoft.com/office/drawing/2014/main" id="{730F91F2-BAA3-46AB-9DDC-E73ECBCDD2A3}"/>
                </a:ext>
              </a:extLst>
            </p:cNvPr>
            <p:cNvSpPr/>
            <p:nvPr/>
          </p:nvSpPr>
          <p:spPr>
            <a:xfrm>
              <a:off x="9556710" y="1882216"/>
              <a:ext cx="2011680" cy="4416984"/>
            </a:xfrm>
            <a:prstGeom prst="roundRect">
              <a:avLst>
                <a:gd name="adj" fmla="val 909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7" name="Rectangle: Rounded Corners 16">
              <a:extLst>
                <a:ext uri="{FF2B5EF4-FFF2-40B4-BE49-F238E27FC236}">
                  <a16:creationId xmlns:a16="http://schemas.microsoft.com/office/drawing/2014/main" id="{37F9A40D-C87A-4718-8FAD-F6B6D50336F4}"/>
                </a:ext>
              </a:extLst>
            </p:cNvPr>
            <p:cNvSpPr/>
            <p:nvPr/>
          </p:nvSpPr>
          <p:spPr>
            <a:xfrm>
              <a:off x="9119277" y="2344577"/>
              <a:ext cx="1110614" cy="412954"/>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2400" b="1" dirty="0"/>
                <a:t>4</a:t>
              </a:r>
            </a:p>
          </p:txBody>
        </p:sp>
        <p:sp>
          <p:nvSpPr>
            <p:cNvPr id="25" name="Rectangle 24">
              <a:extLst>
                <a:ext uri="{FF2B5EF4-FFF2-40B4-BE49-F238E27FC236}">
                  <a16:creationId xmlns:a16="http://schemas.microsoft.com/office/drawing/2014/main" id="{8166A2F1-DBED-4CBA-B7AE-AC548EF850B7}"/>
                </a:ext>
              </a:extLst>
            </p:cNvPr>
            <p:cNvSpPr>
              <a:spLocks/>
            </p:cNvSpPr>
            <p:nvPr/>
          </p:nvSpPr>
          <p:spPr>
            <a:xfrm>
              <a:off x="9534388" y="2826271"/>
              <a:ext cx="2011680" cy="33841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noAutofit/>
            </a:bodyPr>
            <a:lstStyle/>
            <a:p>
              <a:pPr algn="ctr">
                <a:spcBef>
                  <a:spcPts val="600"/>
                </a:spcBef>
              </a:pPr>
              <a:r>
                <a:rPr lang="en-US" sz="1600" b="1" dirty="0">
                  <a:solidFill>
                    <a:schemeClr val="accent3"/>
                  </a:solidFill>
                  <a:latin typeface="Arial" panose="020B0604020202020204" pitchFamily="34" charset="0"/>
                  <a:cs typeface="Arial" panose="020B0604020202020204" pitchFamily="34" charset="0"/>
                </a:rPr>
                <a:t>Approach</a:t>
              </a:r>
            </a:p>
            <a:p>
              <a:pPr marL="182880" indent="-182880">
                <a:spcBef>
                  <a:spcPts val="600"/>
                </a:spcBef>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Multisectoral and collaborative </a:t>
              </a:r>
            </a:p>
            <a:p>
              <a:pPr marL="182880" indent="-182880">
                <a:spcBef>
                  <a:spcPts val="600"/>
                </a:spcBef>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Mainstreaming and integration into the existing policies and </a:t>
              </a:r>
              <a:r>
                <a:rPr lang="en-US" sz="1400" dirty="0" err="1">
                  <a:solidFill>
                    <a:schemeClr val="tx1"/>
                  </a:solidFill>
                  <a:latin typeface="Arial" panose="020B0604020202020204" pitchFamily="34" charset="0"/>
                  <a:cs typeface="Arial" panose="020B0604020202020204" pitchFamily="34" charset="0"/>
                </a:rPr>
                <a:t>programmes</a:t>
              </a:r>
              <a:r>
                <a:rPr lang="en-US" sz="1400" dirty="0">
                  <a:solidFill>
                    <a:schemeClr val="tx1"/>
                  </a:solidFill>
                  <a:latin typeface="Arial" panose="020B0604020202020204" pitchFamily="34" charset="0"/>
                  <a:cs typeface="Arial" panose="020B0604020202020204" pitchFamily="34" charset="0"/>
                </a:rPr>
                <a:t> of </a:t>
              </a:r>
              <a:r>
                <a:rPr lang="en-US" sz="1400" dirty="0" err="1">
                  <a:solidFill>
                    <a:schemeClr val="tx1"/>
                  </a:solidFill>
                  <a:latin typeface="Arial" panose="020B0604020202020204" pitchFamily="34" charset="0"/>
                  <a:cs typeface="Arial" panose="020B0604020202020204" pitchFamily="34" charset="0"/>
                </a:rPr>
                <a:t>GoI</a:t>
              </a:r>
              <a:r>
                <a:rPr lang="en-US" sz="1400" dirty="0">
                  <a:solidFill>
                    <a:schemeClr val="tx1"/>
                  </a:solidFill>
                  <a:latin typeface="Arial" panose="020B0604020202020204" pitchFamily="34" charset="0"/>
                  <a:cs typeface="Arial" panose="020B0604020202020204" pitchFamily="34" charset="0"/>
                </a:rPr>
                <a:t> including NAPCC.</a:t>
              </a:r>
            </a:p>
            <a:p>
              <a:pPr marL="182880" indent="-182880">
                <a:spcBef>
                  <a:spcPts val="600"/>
                </a:spcBef>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Use SMART city framework to launch NCAP in the 43 smart cities falling in the list of 102 non-attainment cities</a:t>
              </a:r>
            </a:p>
          </p:txBody>
        </p:sp>
        <p:grpSp>
          <p:nvGrpSpPr>
            <p:cNvPr id="10" name="Group 9">
              <a:extLst>
                <a:ext uri="{FF2B5EF4-FFF2-40B4-BE49-F238E27FC236}">
                  <a16:creationId xmlns:a16="http://schemas.microsoft.com/office/drawing/2014/main" id="{C568C1DE-E45F-7F17-AB12-017AE73D1514}"/>
                </a:ext>
              </a:extLst>
            </p:cNvPr>
            <p:cNvGrpSpPr/>
            <p:nvPr/>
          </p:nvGrpSpPr>
          <p:grpSpPr>
            <a:xfrm>
              <a:off x="6214885" y="1705479"/>
              <a:ext cx="2877845" cy="4593721"/>
              <a:chOff x="6438958" y="1705479"/>
              <a:chExt cx="2359742" cy="4593721"/>
            </a:xfrm>
          </p:grpSpPr>
          <p:sp>
            <p:nvSpPr>
              <p:cNvPr id="13" name="Rectangle: Rounded Corners 12">
                <a:extLst>
                  <a:ext uri="{FF2B5EF4-FFF2-40B4-BE49-F238E27FC236}">
                    <a16:creationId xmlns:a16="http://schemas.microsoft.com/office/drawing/2014/main" id="{8A12B0CE-36B3-46FB-A346-27532C25E836}"/>
                  </a:ext>
                </a:extLst>
              </p:cNvPr>
              <p:cNvSpPr/>
              <p:nvPr/>
            </p:nvSpPr>
            <p:spPr>
              <a:xfrm>
                <a:off x="6438958" y="1705479"/>
                <a:ext cx="2359742" cy="1789471"/>
              </a:xfrm>
              <a:prstGeom prst="roundRect">
                <a:avLst>
                  <a:gd name="adj" fmla="val 8425"/>
                </a:avLst>
              </a:prstGeom>
              <a:noFill/>
              <a:ln w="19050" cap="rnd">
                <a:solidFill>
                  <a:schemeClr val="accent5"/>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8" name="Rectangle: Rounded Corners 7">
                <a:extLst>
                  <a:ext uri="{FF2B5EF4-FFF2-40B4-BE49-F238E27FC236}">
                    <a16:creationId xmlns:a16="http://schemas.microsoft.com/office/drawing/2014/main" id="{DC81BA1A-ADE9-4F23-9627-B686AD7D0C4A}"/>
                  </a:ext>
                </a:extLst>
              </p:cNvPr>
              <p:cNvSpPr/>
              <p:nvPr/>
            </p:nvSpPr>
            <p:spPr>
              <a:xfrm>
                <a:off x="6612989" y="1882216"/>
                <a:ext cx="2011680" cy="4416984"/>
              </a:xfrm>
              <a:prstGeom prst="roundRect">
                <a:avLst>
                  <a:gd name="adj" fmla="val 909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26" name="Rectangle 25">
                <a:extLst>
                  <a:ext uri="{FF2B5EF4-FFF2-40B4-BE49-F238E27FC236}">
                    <a16:creationId xmlns:a16="http://schemas.microsoft.com/office/drawing/2014/main" id="{6EC28CDE-3D8F-4F5B-91D8-C84347C03A31}"/>
                  </a:ext>
                </a:extLst>
              </p:cNvPr>
              <p:cNvSpPr>
                <a:spLocks/>
              </p:cNvSpPr>
              <p:nvPr/>
            </p:nvSpPr>
            <p:spPr>
              <a:xfrm>
                <a:off x="6596275" y="2894446"/>
                <a:ext cx="2028394" cy="33841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noAutofit/>
              </a:bodyPr>
              <a:lstStyle/>
              <a:p>
                <a:pPr algn="ctr">
                  <a:spcBef>
                    <a:spcPts val="600"/>
                  </a:spcBef>
                </a:pPr>
                <a:r>
                  <a:rPr lang="en-US" sz="1600" b="1" dirty="0">
                    <a:solidFill>
                      <a:schemeClr val="accent5"/>
                    </a:solidFill>
                    <a:latin typeface="Arial" panose="020B0604020202020204" pitchFamily="34" charset="0"/>
                    <a:cs typeface="Arial" panose="020B0604020202020204" pitchFamily="34" charset="0"/>
                  </a:rPr>
                  <a:t>Objective</a:t>
                </a:r>
              </a:p>
              <a:p>
                <a:pPr marL="285750" indent="-285750">
                  <a:spcBef>
                    <a:spcPts val="600"/>
                  </a:spcBef>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Stringent implementation of mitigation measures for prevention, control and abatement of air pollution.</a:t>
                </a:r>
              </a:p>
              <a:p>
                <a:pPr marL="285750" indent="-285750">
                  <a:spcBef>
                    <a:spcPts val="600"/>
                  </a:spcBef>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Augment and strengthen air quality monitoring network across the country.</a:t>
                </a:r>
              </a:p>
              <a:p>
                <a:pPr marL="285750" indent="-285750">
                  <a:spcBef>
                    <a:spcPts val="600"/>
                  </a:spcBef>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Augment public awareness and capacity building measures</a:t>
                </a:r>
              </a:p>
            </p:txBody>
          </p:sp>
        </p:grpSp>
        <p:sp>
          <p:nvSpPr>
            <p:cNvPr id="18" name="Rectangle: Rounded Corners 17">
              <a:extLst>
                <a:ext uri="{FF2B5EF4-FFF2-40B4-BE49-F238E27FC236}">
                  <a16:creationId xmlns:a16="http://schemas.microsoft.com/office/drawing/2014/main" id="{A2914E6D-8814-4B40-868A-CCF8962D511C}"/>
                </a:ext>
              </a:extLst>
            </p:cNvPr>
            <p:cNvSpPr/>
            <p:nvPr/>
          </p:nvSpPr>
          <p:spPr>
            <a:xfrm>
              <a:off x="6194723" y="2344577"/>
              <a:ext cx="1110614" cy="412954"/>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2400" b="1" dirty="0"/>
                <a:t>3</a:t>
              </a:r>
            </a:p>
          </p:txBody>
        </p:sp>
      </p:grpSp>
      <p:sp>
        <p:nvSpPr>
          <p:cNvPr id="20" name="Title 1">
            <a:extLst>
              <a:ext uri="{FF2B5EF4-FFF2-40B4-BE49-F238E27FC236}">
                <a16:creationId xmlns:a16="http://schemas.microsoft.com/office/drawing/2014/main" id="{141D6F24-D0D9-EB63-F5AC-948EFEDF5A47}"/>
              </a:ext>
            </a:extLst>
          </p:cNvPr>
          <p:cNvSpPr txBox="1">
            <a:spLocks/>
          </p:cNvSpPr>
          <p:nvPr/>
        </p:nvSpPr>
        <p:spPr>
          <a:xfrm>
            <a:off x="849086" y="365125"/>
            <a:ext cx="10515600" cy="828361"/>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IN" sz="4400" b="0" dirty="0">
                <a:latin typeface="Arial" panose="020B0604020202020204" pitchFamily="34" charset="0"/>
                <a:cs typeface="Arial" panose="020B0604020202020204" pitchFamily="34" charset="0"/>
              </a:rPr>
              <a:t>Results</a:t>
            </a:r>
          </a:p>
        </p:txBody>
      </p:sp>
      <p:sp>
        <p:nvSpPr>
          <p:cNvPr id="15" name="Rectangle: Rounded Corners 14">
            <a:extLst>
              <a:ext uri="{FF2B5EF4-FFF2-40B4-BE49-F238E27FC236}">
                <a16:creationId xmlns:a16="http://schemas.microsoft.com/office/drawing/2014/main" id="{BAA2C33B-1C29-45CC-8A2B-10BB3E01E49A}"/>
              </a:ext>
            </a:extLst>
          </p:cNvPr>
          <p:cNvSpPr/>
          <p:nvPr/>
        </p:nvSpPr>
        <p:spPr>
          <a:xfrm>
            <a:off x="423460" y="2930256"/>
            <a:ext cx="1110614" cy="41295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2400" b="1" dirty="0"/>
              <a:t>1</a:t>
            </a:r>
          </a:p>
        </p:txBody>
      </p:sp>
    </p:spTree>
    <p:extLst>
      <p:ext uri="{BB962C8B-B14F-4D97-AF65-F5344CB8AC3E}">
        <p14:creationId xmlns:p14="http://schemas.microsoft.com/office/powerpoint/2010/main" val="2812588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DF96A39-53B4-4007-8072-4A8BB7812674}"/>
              </a:ext>
            </a:extLst>
          </p:cNvPr>
          <p:cNvGrpSpPr/>
          <p:nvPr/>
        </p:nvGrpSpPr>
        <p:grpSpPr>
          <a:xfrm>
            <a:off x="6389914" y="935590"/>
            <a:ext cx="4865916" cy="5399318"/>
            <a:chOff x="7739744" y="1643739"/>
            <a:chExt cx="3614058" cy="5558462"/>
          </a:xfrm>
        </p:grpSpPr>
        <p:sp>
          <p:nvSpPr>
            <p:cNvPr id="4" name="Rectangle: Rounded Corners 3">
              <a:extLst>
                <a:ext uri="{FF2B5EF4-FFF2-40B4-BE49-F238E27FC236}">
                  <a16:creationId xmlns:a16="http://schemas.microsoft.com/office/drawing/2014/main" id="{12CC971F-C25E-A27D-5FB0-CF680872C8F2}"/>
                </a:ext>
              </a:extLst>
            </p:cNvPr>
            <p:cNvSpPr/>
            <p:nvPr/>
          </p:nvSpPr>
          <p:spPr>
            <a:xfrm>
              <a:off x="7739744" y="1643739"/>
              <a:ext cx="3614058" cy="474617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7" name="TextBox 6">
              <a:extLst>
                <a:ext uri="{FF2B5EF4-FFF2-40B4-BE49-F238E27FC236}">
                  <a16:creationId xmlns:a16="http://schemas.microsoft.com/office/drawing/2014/main" id="{6C16D58E-0DF2-47B5-1CBA-784929D186FD}"/>
                </a:ext>
              </a:extLst>
            </p:cNvPr>
            <p:cNvSpPr txBox="1"/>
            <p:nvPr/>
          </p:nvSpPr>
          <p:spPr>
            <a:xfrm>
              <a:off x="8082645" y="2068286"/>
              <a:ext cx="2928255" cy="369332"/>
            </a:xfrm>
            <a:prstGeom prst="rect">
              <a:avLst/>
            </a:prstGeom>
            <a:noFill/>
          </p:spPr>
          <p:txBody>
            <a:bodyPr wrap="square" rtlCol="0">
              <a:spAutoFit/>
            </a:bodyPr>
            <a:lstStyle/>
            <a:p>
              <a:pPr algn="ctr"/>
              <a:r>
                <a:rPr lang="en-IN" b="1" dirty="0">
                  <a:solidFill>
                    <a:schemeClr val="accent6"/>
                  </a:solidFill>
                  <a:latin typeface="Arial" panose="020B0604020202020204" pitchFamily="34" charset="0"/>
                  <a:cs typeface="Arial" panose="020B0604020202020204" pitchFamily="34" charset="0"/>
                </a:rPr>
                <a:t>Stakeholders</a:t>
              </a:r>
            </a:p>
          </p:txBody>
        </p:sp>
        <p:sp>
          <p:nvSpPr>
            <p:cNvPr id="10" name="TextBox 9">
              <a:extLst>
                <a:ext uri="{FF2B5EF4-FFF2-40B4-BE49-F238E27FC236}">
                  <a16:creationId xmlns:a16="http://schemas.microsoft.com/office/drawing/2014/main" id="{BBA9614E-3D42-B2CD-CB34-512591C5C20A}"/>
                </a:ext>
              </a:extLst>
            </p:cNvPr>
            <p:cNvSpPr txBox="1"/>
            <p:nvPr/>
          </p:nvSpPr>
          <p:spPr>
            <a:xfrm>
              <a:off x="7946571" y="2677886"/>
              <a:ext cx="3200400" cy="4524315"/>
            </a:xfrm>
            <a:prstGeom prst="rect">
              <a:avLst/>
            </a:prstGeom>
            <a:noFill/>
          </p:spPr>
          <p:txBody>
            <a:bodyPr wrap="square" rtlCol="0">
              <a:spAutoFit/>
            </a:bodyPr>
            <a:lstStyle/>
            <a:p>
              <a:pPr marL="285750" indent="-285750">
                <a:buFont typeface="Wingdings" panose="05000000000000000000" pitchFamily="2" charset="2"/>
                <a:buChar char="Ø"/>
              </a:pPr>
              <a:r>
                <a:rPr lang="en-US" dirty="0"/>
                <a:t>Ministry of Road Transport and Highway, </a:t>
              </a:r>
            </a:p>
            <a:p>
              <a:pPr marL="285750" indent="-285750">
                <a:buFont typeface="Wingdings" panose="05000000000000000000" pitchFamily="2" charset="2"/>
                <a:buChar char="Ø"/>
              </a:pPr>
              <a:r>
                <a:rPr lang="en-US" dirty="0"/>
                <a:t>Ministry of Petroleum and Natural Gas, </a:t>
              </a:r>
            </a:p>
            <a:p>
              <a:pPr marL="285750" indent="-285750">
                <a:buFont typeface="Wingdings" panose="05000000000000000000" pitchFamily="2" charset="2"/>
                <a:buChar char="Ø"/>
              </a:pPr>
              <a:r>
                <a:rPr lang="en-US" dirty="0"/>
                <a:t>Ministry of New and Renewable Energy, </a:t>
              </a:r>
            </a:p>
            <a:p>
              <a:pPr marL="285750" indent="-285750">
                <a:buFont typeface="Wingdings" panose="05000000000000000000" pitchFamily="2" charset="2"/>
                <a:buChar char="Ø"/>
              </a:pPr>
              <a:r>
                <a:rPr lang="en-US" dirty="0"/>
                <a:t>Ministry of Heavy Industry, </a:t>
              </a:r>
            </a:p>
            <a:p>
              <a:pPr marL="285750" indent="-285750">
                <a:buFont typeface="Wingdings" panose="05000000000000000000" pitchFamily="2" charset="2"/>
                <a:buChar char="Ø"/>
              </a:pPr>
              <a:r>
                <a:rPr lang="en-US" dirty="0"/>
                <a:t>Ministry of Housing and Urban Affairs, </a:t>
              </a:r>
            </a:p>
            <a:p>
              <a:pPr marL="285750" indent="-285750">
                <a:buFont typeface="Wingdings" panose="05000000000000000000" pitchFamily="2" charset="2"/>
                <a:buChar char="Ø"/>
              </a:pPr>
              <a:r>
                <a:rPr lang="en-US" dirty="0"/>
                <a:t>Ministry of Agriculture, </a:t>
              </a:r>
            </a:p>
            <a:p>
              <a:pPr marL="285750" indent="-285750">
                <a:buFont typeface="Wingdings" panose="05000000000000000000" pitchFamily="2" charset="2"/>
                <a:buChar char="Ø"/>
              </a:pPr>
              <a:r>
                <a:rPr lang="en-US" dirty="0"/>
                <a:t>Ministry of Health, </a:t>
              </a:r>
            </a:p>
            <a:p>
              <a:pPr marL="285750" indent="-285750">
                <a:buFont typeface="Wingdings" panose="05000000000000000000" pitchFamily="2" charset="2"/>
                <a:buChar char="Ø"/>
              </a:pPr>
              <a:r>
                <a:rPr lang="en-US" dirty="0"/>
                <a:t>NITI Aayog, </a:t>
              </a:r>
            </a:p>
            <a:p>
              <a:pPr marL="285750" indent="-285750">
                <a:buFont typeface="Wingdings" panose="05000000000000000000" pitchFamily="2" charset="2"/>
                <a:buChar char="Ø"/>
              </a:pPr>
              <a:r>
                <a:rPr lang="en-US" dirty="0"/>
                <a:t>CPCB, </a:t>
              </a:r>
            </a:p>
            <a:p>
              <a:pPr marL="285750" indent="-285750">
                <a:buFont typeface="Wingdings" panose="05000000000000000000" pitchFamily="2" charset="2"/>
                <a:buChar char="Ø"/>
              </a:pPr>
              <a:r>
                <a:rPr lang="en-US" dirty="0"/>
                <a:t>experts from the industry, academia</a:t>
              </a:r>
            </a:p>
            <a:p>
              <a:pPr marL="285750" indent="-285750">
                <a:buFont typeface="Wingdings" panose="05000000000000000000" pitchFamily="2" charset="2"/>
                <a:buChar char="Ø"/>
              </a:pPr>
              <a:r>
                <a:rPr lang="en-US" dirty="0"/>
                <a:t>civil society.</a:t>
              </a:r>
              <a:endParaRPr lang="en-IN" dirty="0"/>
            </a:p>
          </p:txBody>
        </p:sp>
      </p:grpSp>
      <p:grpSp>
        <p:nvGrpSpPr>
          <p:cNvPr id="16" name="Group 15">
            <a:extLst>
              <a:ext uri="{FF2B5EF4-FFF2-40B4-BE49-F238E27FC236}">
                <a16:creationId xmlns:a16="http://schemas.microsoft.com/office/drawing/2014/main" id="{805AA807-9623-745B-D765-F01A088C95DC}"/>
              </a:ext>
            </a:extLst>
          </p:cNvPr>
          <p:cNvGrpSpPr/>
          <p:nvPr/>
        </p:nvGrpSpPr>
        <p:grpSpPr>
          <a:xfrm>
            <a:off x="1148443" y="556255"/>
            <a:ext cx="3614058" cy="2406563"/>
            <a:chOff x="1191019" y="241715"/>
            <a:chExt cx="3614058" cy="2406563"/>
          </a:xfrm>
        </p:grpSpPr>
        <p:grpSp>
          <p:nvGrpSpPr>
            <p:cNvPr id="12" name="Group 11">
              <a:extLst>
                <a:ext uri="{FF2B5EF4-FFF2-40B4-BE49-F238E27FC236}">
                  <a16:creationId xmlns:a16="http://schemas.microsoft.com/office/drawing/2014/main" id="{EE60F7CE-726A-3A8E-1095-43262D60624D}"/>
                </a:ext>
              </a:extLst>
            </p:cNvPr>
            <p:cNvGrpSpPr/>
            <p:nvPr/>
          </p:nvGrpSpPr>
          <p:grpSpPr>
            <a:xfrm>
              <a:off x="1191019" y="241715"/>
              <a:ext cx="3614058" cy="2406563"/>
              <a:chOff x="179613" y="1632851"/>
              <a:chExt cx="3614058" cy="4746171"/>
            </a:xfrm>
          </p:grpSpPr>
          <p:sp>
            <p:nvSpPr>
              <p:cNvPr id="3" name="Rectangle: Rounded Corners 2">
                <a:extLst>
                  <a:ext uri="{FF2B5EF4-FFF2-40B4-BE49-F238E27FC236}">
                    <a16:creationId xmlns:a16="http://schemas.microsoft.com/office/drawing/2014/main" id="{6DCE7209-FA1A-4FA3-FCA9-56E4A589931C}"/>
                  </a:ext>
                </a:extLst>
              </p:cNvPr>
              <p:cNvSpPr/>
              <p:nvPr/>
            </p:nvSpPr>
            <p:spPr>
              <a:xfrm>
                <a:off x="179613" y="1632851"/>
                <a:ext cx="3614058" cy="474617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6" name="TextBox 5">
                <a:extLst>
                  <a:ext uri="{FF2B5EF4-FFF2-40B4-BE49-F238E27FC236}">
                    <a16:creationId xmlns:a16="http://schemas.microsoft.com/office/drawing/2014/main" id="{88B1C629-F9BA-40F1-A876-5062981E6A3B}"/>
                  </a:ext>
                </a:extLst>
              </p:cNvPr>
              <p:cNvSpPr txBox="1"/>
              <p:nvPr/>
            </p:nvSpPr>
            <p:spPr>
              <a:xfrm>
                <a:off x="620484" y="1980855"/>
                <a:ext cx="2732315" cy="400110"/>
              </a:xfrm>
              <a:prstGeom prst="rect">
                <a:avLst/>
              </a:prstGeom>
              <a:noFill/>
            </p:spPr>
            <p:txBody>
              <a:bodyPr wrap="square" rtlCol="0">
                <a:spAutoFit/>
              </a:bodyPr>
              <a:lstStyle/>
              <a:p>
                <a:pPr algn="ctr"/>
                <a:r>
                  <a:rPr lang="en-IN" sz="2000" b="1" dirty="0">
                    <a:solidFill>
                      <a:schemeClr val="accent6"/>
                    </a:solidFill>
                    <a:latin typeface="Arial" panose="020B0604020202020204" pitchFamily="34" charset="0"/>
                    <a:cs typeface="Arial" panose="020B0604020202020204" pitchFamily="34" charset="0"/>
                  </a:rPr>
                  <a:t>Goal</a:t>
                </a:r>
                <a:endParaRPr lang="en-IN" b="1" dirty="0">
                  <a:solidFill>
                    <a:schemeClr val="accent6"/>
                  </a:solidFill>
                  <a:latin typeface="Arial" panose="020B0604020202020204" pitchFamily="34" charset="0"/>
                  <a:cs typeface="Arial" panose="020B0604020202020204" pitchFamily="34" charset="0"/>
                </a:endParaRPr>
              </a:p>
            </p:txBody>
          </p:sp>
        </p:grpSp>
        <p:sp>
          <p:nvSpPr>
            <p:cNvPr id="14" name="TextBox 13">
              <a:extLst>
                <a:ext uri="{FF2B5EF4-FFF2-40B4-BE49-F238E27FC236}">
                  <a16:creationId xmlns:a16="http://schemas.microsoft.com/office/drawing/2014/main" id="{C29D551A-3C19-A472-8E7E-3D357D00C5F8}"/>
                </a:ext>
              </a:extLst>
            </p:cNvPr>
            <p:cNvSpPr txBox="1"/>
            <p:nvPr/>
          </p:nvSpPr>
          <p:spPr>
            <a:xfrm>
              <a:off x="1360715" y="935590"/>
              <a:ext cx="3178630" cy="1477328"/>
            </a:xfrm>
            <a:prstGeom prst="rect">
              <a:avLst/>
            </a:prstGeom>
            <a:noFill/>
          </p:spPr>
          <p:txBody>
            <a:bodyPr wrap="square">
              <a:spAutoFit/>
            </a:bodyPr>
            <a:lstStyle/>
            <a:p>
              <a:r>
                <a:rPr lang="en-US" dirty="0"/>
                <a:t>to meet the prescribed annual average ambient air quality standards at all locations in the country in a stipulated timeframe (long-term).</a:t>
              </a:r>
              <a:endParaRPr lang="en-IN" dirty="0"/>
            </a:p>
          </p:txBody>
        </p:sp>
      </p:grpSp>
      <p:pic>
        <p:nvPicPr>
          <p:cNvPr id="15" name="Picture 14">
            <a:extLst>
              <a:ext uri="{FF2B5EF4-FFF2-40B4-BE49-F238E27FC236}">
                <a16:creationId xmlns:a16="http://schemas.microsoft.com/office/drawing/2014/main" id="{DF55FA0A-DEDB-3C45-7004-FCC9513BF578}"/>
              </a:ext>
            </a:extLst>
          </p:cNvPr>
          <p:cNvPicPr>
            <a:picLocks noChangeAspect="1"/>
          </p:cNvPicPr>
          <p:nvPr/>
        </p:nvPicPr>
        <p:blipFill>
          <a:blip r:embed="rId2"/>
          <a:stretch>
            <a:fillRect/>
          </a:stretch>
        </p:blipFill>
        <p:spPr>
          <a:xfrm>
            <a:off x="718458" y="2962818"/>
            <a:ext cx="4474028" cy="3895181"/>
          </a:xfrm>
          <a:prstGeom prst="rect">
            <a:avLst/>
          </a:prstGeom>
        </p:spPr>
      </p:pic>
    </p:spTree>
    <p:extLst>
      <p:ext uri="{BB962C8B-B14F-4D97-AF65-F5344CB8AC3E}">
        <p14:creationId xmlns:p14="http://schemas.microsoft.com/office/powerpoint/2010/main" val="239204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1E31C1BA-BECB-487E-B91E-0FB74FFC8E62}"/>
              </a:ext>
            </a:extLst>
          </p:cNvPr>
          <p:cNvSpPr txBox="1"/>
          <p:nvPr/>
        </p:nvSpPr>
        <p:spPr>
          <a:xfrm>
            <a:off x="384694" y="4177348"/>
            <a:ext cx="3234563" cy="2604452"/>
          </a:xfrm>
          <a:prstGeom prst="rect">
            <a:avLst/>
          </a:prstGeom>
          <a:ln>
            <a:noFill/>
          </a:ln>
        </p:spPr>
        <p:txBody>
          <a:bodyPr vert="horz" wrap="square" lIns="0" tIns="0" rIns="0" bIns="0" numCol="1" rtlCol="0" anchor="t" anchorCtr="0" compatLnSpc="1">
            <a:prstTxWarp prst="textNoShape">
              <a:avLst/>
            </a:prstTxWarp>
            <a:noAutofit/>
          </a:bodyPr>
          <a:lstStyle/>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1.Public Awareness and Education:</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2.Training and Capacity Building:</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3.Setting up Air Information Centre:</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4.Certification System for Monitoring Instruments:</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5.Air Quality Forecasting System:</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6.Network of Technical Institutions - Knowledge Partners:</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7.Technology Assessment Cell:</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8.Institutional Framework</a:t>
            </a:r>
          </a:p>
        </p:txBody>
      </p:sp>
      <p:sp>
        <p:nvSpPr>
          <p:cNvPr id="13" name="TextBox 12">
            <a:extLst>
              <a:ext uri="{FF2B5EF4-FFF2-40B4-BE49-F238E27FC236}">
                <a16:creationId xmlns:a16="http://schemas.microsoft.com/office/drawing/2014/main" id="{AE598F04-1BAF-4752-B8CC-DC047F6EE093}"/>
              </a:ext>
            </a:extLst>
          </p:cNvPr>
          <p:cNvSpPr txBox="1"/>
          <p:nvPr/>
        </p:nvSpPr>
        <p:spPr>
          <a:xfrm>
            <a:off x="4385575" y="4183668"/>
            <a:ext cx="4061360" cy="2476350"/>
          </a:xfrm>
          <a:prstGeom prst="rect">
            <a:avLst/>
          </a:prstGeom>
          <a:ln>
            <a:noFill/>
          </a:ln>
        </p:spPr>
        <p:txBody>
          <a:bodyPr vert="horz" wrap="square" lIns="0" tIns="0" rIns="0" bIns="0" numCol="1" rtlCol="0" anchor="t" anchorCtr="0" compatLnSpc="1">
            <a:prstTxWarp prst="textNoShape">
              <a:avLst/>
            </a:prstTxWarp>
            <a:noAutofit/>
          </a:bodyPr>
          <a:lstStyle/>
          <a:p>
            <a:pPr lvl="0" fontAlgn="base">
              <a:spcAft>
                <a:spcPts val="300"/>
              </a:spcAft>
              <a:defRPr/>
            </a:pPr>
            <a:r>
              <a:rPr lang="en-US" sz="1400" dirty="0">
                <a:latin typeface="Arial" panose="020B0604020202020204" pitchFamily="34" charset="0"/>
                <a:cs typeface="Arial" panose="020B0604020202020204" pitchFamily="34" charset="0"/>
              </a:rPr>
              <a:t>1.Air Quality Monitoring Network:</a:t>
            </a:r>
          </a:p>
          <a:p>
            <a:pPr lvl="0" fontAlgn="base">
              <a:spcAft>
                <a:spcPts val="300"/>
              </a:spcAft>
              <a:defRPr/>
            </a:pPr>
            <a:r>
              <a:rPr lang="en-US" sz="1400" dirty="0">
                <a:latin typeface="Arial" panose="020B0604020202020204" pitchFamily="34" charset="0"/>
                <a:cs typeface="Arial" panose="020B0604020202020204" pitchFamily="34" charset="0"/>
              </a:rPr>
              <a:t>2.Extend source apportionment studies to all 102 non-attainment cities</a:t>
            </a:r>
          </a:p>
          <a:p>
            <a:pPr lvl="0" fontAlgn="base">
              <a:spcAft>
                <a:spcPts val="300"/>
              </a:spcAft>
              <a:defRPr/>
            </a:pPr>
            <a:r>
              <a:rPr lang="en-US" sz="1400" dirty="0">
                <a:latin typeface="Arial" panose="020B0604020202020204" pitchFamily="34" charset="0"/>
                <a:cs typeface="Arial" panose="020B0604020202020204" pitchFamily="34" charset="0"/>
              </a:rPr>
              <a:t>3.Undertake air pollution health and economic impact studies</a:t>
            </a:r>
          </a:p>
          <a:p>
            <a:pPr lvl="0" fontAlgn="base">
              <a:spcAft>
                <a:spcPts val="300"/>
              </a:spcAft>
              <a:defRPr/>
            </a:pPr>
            <a:r>
              <a:rPr lang="en-US" sz="1400" dirty="0">
                <a:latin typeface="Arial" panose="020B0604020202020204" pitchFamily="34" charset="0"/>
                <a:cs typeface="Arial" panose="020B0604020202020204" pitchFamily="34" charset="0"/>
              </a:rPr>
              <a:t>4.Establish international cooperation and sharing of best practices</a:t>
            </a:r>
          </a:p>
          <a:p>
            <a:pPr lvl="0" fontAlgn="base">
              <a:spcAft>
                <a:spcPts val="300"/>
              </a:spcAft>
              <a:defRPr/>
            </a:pPr>
            <a:r>
              <a:rPr lang="en-US" sz="1400" dirty="0">
                <a:latin typeface="Arial" panose="020B0604020202020204" pitchFamily="34" charset="0"/>
                <a:cs typeface="Arial" panose="020B0604020202020204" pitchFamily="34" charset="0"/>
              </a:rPr>
              <a:t>5.Review ambient air quality standards and emission standards periodically</a:t>
            </a:r>
          </a:p>
          <a:p>
            <a:pPr lvl="0" fontAlgn="base">
              <a:spcAft>
                <a:spcPts val="300"/>
              </a:spcAft>
              <a:defRPr/>
            </a:pPr>
            <a:r>
              <a:rPr lang="en-US" sz="1400" dirty="0">
                <a:latin typeface="Arial" panose="020B0604020202020204" pitchFamily="34" charset="0"/>
                <a:cs typeface="Arial" panose="020B0604020202020204" pitchFamily="34" charset="0"/>
              </a:rPr>
              <a:t>6.Formalize a comprehensive National Emission Inventory</a:t>
            </a:r>
          </a:p>
        </p:txBody>
      </p:sp>
      <p:sp>
        <p:nvSpPr>
          <p:cNvPr id="14" name="TextBox 13">
            <a:extLst>
              <a:ext uri="{FF2B5EF4-FFF2-40B4-BE49-F238E27FC236}">
                <a16:creationId xmlns:a16="http://schemas.microsoft.com/office/drawing/2014/main" id="{AC234AB7-A369-4930-A5C6-99155A92D8FE}"/>
              </a:ext>
            </a:extLst>
          </p:cNvPr>
          <p:cNvSpPr txBox="1"/>
          <p:nvPr/>
        </p:nvSpPr>
        <p:spPr>
          <a:xfrm>
            <a:off x="8891567" y="4183668"/>
            <a:ext cx="3213348" cy="2476350"/>
          </a:xfrm>
          <a:prstGeom prst="rect">
            <a:avLst/>
          </a:prstGeom>
          <a:ln>
            <a:noFill/>
          </a:ln>
        </p:spPr>
        <p:txBody>
          <a:bodyPr vert="horz" wrap="square" lIns="0" tIns="0" rIns="0" bIns="0" numCol="1" rtlCol="0" anchor="t" anchorCtr="0" compatLnSpc="1">
            <a:prstTxWarp prst="textNoShape">
              <a:avLst/>
            </a:prstTxWarp>
            <a:noAutofit/>
          </a:bodyPr>
          <a:lstStyle/>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1.Stringent enforcement through three-tier monitoring, assessment, and inspection system</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2.Extensive plantation drive, especially at pollution hotspots</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3.Support for clean technologies through R&amp;D, pilots, and implementation</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4.Formulate regional and transboundary plans</a:t>
            </a:r>
          </a:p>
          <a:p>
            <a:pPr lvl="0" fontAlgn="base">
              <a:spcAft>
                <a:spcPts val="300"/>
              </a:spcAft>
              <a:defRPr/>
            </a:pPr>
            <a:r>
              <a:rPr kumimoji="0" lang="en-US" sz="1400" i="0" u="none" strike="noStrike" kern="1200" cap="none" spc="0" normalizeH="0" baseline="0" noProof="0" dirty="0">
                <a:ln>
                  <a:noFill/>
                </a:ln>
                <a:effectLst/>
                <a:uLnTx/>
                <a:uFillTx/>
                <a:latin typeface="Arial" panose="020B0604020202020204" pitchFamily="34" charset="0"/>
                <a:cs typeface="Arial" panose="020B0604020202020204" pitchFamily="34" charset="0"/>
              </a:rPr>
              <a:t>5.Sectoral interventions:</a:t>
            </a:r>
          </a:p>
          <a:p>
            <a:pPr marL="182880" lvl="0" indent="-182880" fontAlgn="base">
              <a:spcAft>
                <a:spcPts val="300"/>
              </a:spcAft>
              <a:buFont typeface="Arial" panose="020B0604020202020204" pitchFamily="34" charset="0"/>
              <a:buChar char="•"/>
              <a:defRPr/>
            </a:pP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490E0721-8377-6762-9484-8CD0AAE26A3A}"/>
              </a:ext>
            </a:extLst>
          </p:cNvPr>
          <p:cNvGrpSpPr/>
          <p:nvPr/>
        </p:nvGrpSpPr>
        <p:grpSpPr>
          <a:xfrm>
            <a:off x="0" y="1268171"/>
            <a:ext cx="12192000" cy="2727533"/>
            <a:chOff x="0" y="1268171"/>
            <a:chExt cx="12192000" cy="2727533"/>
          </a:xfrm>
        </p:grpSpPr>
        <p:sp>
          <p:nvSpPr>
            <p:cNvPr id="15" name="Freeform: Shape 14">
              <a:extLst>
                <a:ext uri="{FF2B5EF4-FFF2-40B4-BE49-F238E27FC236}">
                  <a16:creationId xmlns:a16="http://schemas.microsoft.com/office/drawing/2014/main" id="{1E49147B-4915-435F-9310-8670F16472AC}"/>
                </a:ext>
              </a:extLst>
            </p:cNvPr>
            <p:cNvSpPr/>
            <p:nvPr/>
          </p:nvSpPr>
          <p:spPr>
            <a:xfrm>
              <a:off x="0" y="3712540"/>
              <a:ext cx="1893434" cy="283164"/>
            </a:xfrm>
            <a:custGeom>
              <a:avLst/>
              <a:gdLst>
                <a:gd name="connsiteX0" fmla="*/ 0 w 1893434"/>
                <a:gd name="connsiteY0" fmla="*/ 0 h 283164"/>
                <a:gd name="connsiteX1" fmla="*/ 1065465 w 1893434"/>
                <a:gd name="connsiteY1" fmla="*/ 0 h 283164"/>
                <a:gd name="connsiteX2" fmla="*/ 1133863 w 1893434"/>
                <a:gd name="connsiteY2" fmla="*/ 51147 h 283164"/>
                <a:gd name="connsiteX3" fmla="*/ 1893434 w 1893434"/>
                <a:gd name="connsiteY3" fmla="*/ 283164 h 283164"/>
                <a:gd name="connsiteX4" fmla="*/ 0 w 1893434"/>
                <a:gd name="connsiteY4" fmla="*/ 283164 h 283164"/>
                <a:gd name="connsiteX5" fmla="*/ 0 w 1893434"/>
                <a:gd name="connsiteY5" fmla="*/ 0 h 28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3434" h="283164">
                  <a:moveTo>
                    <a:pt x="0" y="0"/>
                  </a:moveTo>
                  <a:lnTo>
                    <a:pt x="1065465" y="0"/>
                  </a:lnTo>
                  <a:lnTo>
                    <a:pt x="1133863" y="51147"/>
                  </a:lnTo>
                  <a:cubicBezTo>
                    <a:pt x="1350687" y="197631"/>
                    <a:pt x="1612072" y="283164"/>
                    <a:pt x="1893434" y="283164"/>
                  </a:cubicBezTo>
                  <a:lnTo>
                    <a:pt x="0" y="283164"/>
                  </a:lnTo>
                  <a:lnTo>
                    <a:pt x="0" y="0"/>
                  </a:lnTo>
                  <a:close/>
                </a:path>
              </a:pathLst>
            </a:custGeom>
            <a:gradFill flip="none" rotWithShape="1">
              <a:gsLst>
                <a:gs pos="50000">
                  <a:schemeClr val="accent2"/>
                </a:gs>
                <a:gs pos="75000">
                  <a:schemeClr val="tx1">
                    <a:lumMod val="50000"/>
                  </a:schemeClr>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a:solidFill>
                  <a:srgbClr val="2B3A42"/>
                </a:solidFill>
                <a:latin typeface="Arial" panose="020B0604020202020204"/>
              </a:endParaRPr>
            </a:p>
          </p:txBody>
        </p:sp>
        <p:grpSp>
          <p:nvGrpSpPr>
            <p:cNvPr id="19" name="Group 18">
              <a:extLst>
                <a:ext uri="{FF2B5EF4-FFF2-40B4-BE49-F238E27FC236}">
                  <a16:creationId xmlns:a16="http://schemas.microsoft.com/office/drawing/2014/main" id="{32BE0660-70D4-0286-DE53-F81CA8467ADB}"/>
                </a:ext>
              </a:extLst>
            </p:cNvPr>
            <p:cNvGrpSpPr/>
            <p:nvPr/>
          </p:nvGrpSpPr>
          <p:grpSpPr>
            <a:xfrm>
              <a:off x="482510" y="1268171"/>
              <a:ext cx="11709490" cy="2717075"/>
              <a:chOff x="482510" y="1600463"/>
              <a:chExt cx="11709490" cy="2717075"/>
            </a:xfrm>
          </p:grpSpPr>
          <p:sp>
            <p:nvSpPr>
              <p:cNvPr id="4" name="Freeform: Shape 3">
                <a:extLst>
                  <a:ext uri="{FF2B5EF4-FFF2-40B4-BE49-F238E27FC236}">
                    <a16:creationId xmlns:a16="http://schemas.microsoft.com/office/drawing/2014/main" id="{EDD8BD40-12E8-49B5-B613-A55D39B2E444}"/>
                  </a:ext>
                </a:extLst>
              </p:cNvPr>
              <p:cNvSpPr/>
              <p:nvPr/>
            </p:nvSpPr>
            <p:spPr>
              <a:xfrm>
                <a:off x="482510" y="1600463"/>
                <a:ext cx="6773772" cy="2717075"/>
              </a:xfrm>
              <a:custGeom>
                <a:avLst/>
                <a:gdLst>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687285 w 6773772"/>
                  <a:gd name="connsiteY12" fmla="*/ 2673337 h 2717074"/>
                  <a:gd name="connsiteX13" fmla="*/ 1565429 w 6773772"/>
                  <a:gd name="connsiteY13" fmla="*/ 2701421 h 2717074"/>
                  <a:gd name="connsiteX14" fmla="*/ 1358537 w 6773772"/>
                  <a:gd name="connsiteY14" fmla="*/ 2717074 h 2717074"/>
                  <a:gd name="connsiteX15" fmla="*/ 598966 w 6773772"/>
                  <a:gd name="connsiteY15" fmla="*/ 2485057 h 2717074"/>
                  <a:gd name="connsiteX16" fmla="*/ 530568 w 6773772"/>
                  <a:gd name="connsiteY16" fmla="*/ 2433910 h 2717074"/>
                  <a:gd name="connsiteX17" fmla="*/ 494381 w 6773772"/>
                  <a:gd name="connsiteY17" fmla="*/ 2406850 h 2717074"/>
                  <a:gd name="connsiteX18" fmla="*/ 0 w 6773772"/>
                  <a:gd name="connsiteY18" fmla="*/ 1358537 h 2717074"/>
                  <a:gd name="connsiteX19" fmla="*/ 1358537 w 6773772"/>
                  <a:gd name="connsiteY19"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565429 w 6773772"/>
                  <a:gd name="connsiteY12" fmla="*/ 2701421 h 2717074"/>
                  <a:gd name="connsiteX13" fmla="*/ 1358537 w 6773772"/>
                  <a:gd name="connsiteY13" fmla="*/ 2717074 h 2717074"/>
                  <a:gd name="connsiteX14" fmla="*/ 598966 w 6773772"/>
                  <a:gd name="connsiteY14" fmla="*/ 2485057 h 2717074"/>
                  <a:gd name="connsiteX15" fmla="*/ 530568 w 6773772"/>
                  <a:gd name="connsiteY15" fmla="*/ 2433910 h 2717074"/>
                  <a:gd name="connsiteX16" fmla="*/ 494381 w 6773772"/>
                  <a:gd name="connsiteY16" fmla="*/ 2406850 h 2717074"/>
                  <a:gd name="connsiteX17" fmla="*/ 0 w 6773772"/>
                  <a:gd name="connsiteY17" fmla="*/ 1358537 h 2717074"/>
                  <a:gd name="connsiteX18" fmla="*/ 1358537 w 6773772"/>
                  <a:gd name="connsiteY18"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358537 w 6773772"/>
                  <a:gd name="connsiteY12" fmla="*/ 2717074 h 2717074"/>
                  <a:gd name="connsiteX13" fmla="*/ 598966 w 6773772"/>
                  <a:gd name="connsiteY13" fmla="*/ 2485057 h 2717074"/>
                  <a:gd name="connsiteX14" fmla="*/ 530568 w 6773772"/>
                  <a:gd name="connsiteY14" fmla="*/ 2433910 h 2717074"/>
                  <a:gd name="connsiteX15" fmla="*/ 494381 w 6773772"/>
                  <a:gd name="connsiteY15" fmla="*/ 2406850 h 2717074"/>
                  <a:gd name="connsiteX16" fmla="*/ 0 w 6773772"/>
                  <a:gd name="connsiteY16" fmla="*/ 1358537 h 2717074"/>
                  <a:gd name="connsiteX17" fmla="*/ 1358537 w 6773772"/>
                  <a:gd name="connsiteY17"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358537 w 6773772"/>
                  <a:gd name="connsiteY11" fmla="*/ 2717074 h 2717074"/>
                  <a:gd name="connsiteX12" fmla="*/ 598966 w 6773772"/>
                  <a:gd name="connsiteY12" fmla="*/ 2485057 h 2717074"/>
                  <a:gd name="connsiteX13" fmla="*/ 530568 w 6773772"/>
                  <a:gd name="connsiteY13" fmla="*/ 2433910 h 2717074"/>
                  <a:gd name="connsiteX14" fmla="*/ 494381 w 6773772"/>
                  <a:gd name="connsiteY14" fmla="*/ 2406850 h 2717074"/>
                  <a:gd name="connsiteX15" fmla="*/ 0 w 6773772"/>
                  <a:gd name="connsiteY15" fmla="*/ 1358537 h 2717074"/>
                  <a:gd name="connsiteX16" fmla="*/ 1358537 w 6773772"/>
                  <a:gd name="connsiteY16"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358537 w 6773772"/>
                  <a:gd name="connsiteY11" fmla="*/ 2717074 h 2717074"/>
                  <a:gd name="connsiteX12" fmla="*/ 598966 w 6773772"/>
                  <a:gd name="connsiteY12" fmla="*/ 2485057 h 2717074"/>
                  <a:gd name="connsiteX13" fmla="*/ 494381 w 6773772"/>
                  <a:gd name="connsiteY13" fmla="*/ 2406850 h 2717074"/>
                  <a:gd name="connsiteX14" fmla="*/ 0 w 6773772"/>
                  <a:gd name="connsiteY14" fmla="*/ 1358537 h 2717074"/>
                  <a:gd name="connsiteX15" fmla="*/ 1358537 w 6773772"/>
                  <a:gd name="connsiteY15" fmla="*/ 0 h 27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73772" h="2717074">
                    <a:moveTo>
                      <a:pt x="1358537" y="283391"/>
                    </a:moveTo>
                    <a:cubicBezTo>
                      <a:pt x="764750" y="283391"/>
                      <a:pt x="283391" y="764750"/>
                      <a:pt x="283391" y="1358537"/>
                    </a:cubicBezTo>
                    <a:cubicBezTo>
                      <a:pt x="283391" y="1952324"/>
                      <a:pt x="764750" y="2433683"/>
                      <a:pt x="1358537" y="2433683"/>
                    </a:cubicBezTo>
                    <a:cubicBezTo>
                      <a:pt x="1952324" y="2433683"/>
                      <a:pt x="2433683" y="1952324"/>
                      <a:pt x="2433683" y="1358537"/>
                    </a:cubicBezTo>
                    <a:cubicBezTo>
                      <a:pt x="2433683" y="764750"/>
                      <a:pt x="1952324" y="283391"/>
                      <a:pt x="1358537" y="283391"/>
                    </a:cubicBezTo>
                    <a:close/>
                    <a:moveTo>
                      <a:pt x="1358537" y="0"/>
                    </a:moveTo>
                    <a:cubicBezTo>
                      <a:pt x="2108836" y="0"/>
                      <a:pt x="2717074" y="608238"/>
                      <a:pt x="2717074" y="1358537"/>
                    </a:cubicBezTo>
                    <a:cubicBezTo>
                      <a:pt x="2717074" y="1780580"/>
                      <a:pt x="2524624" y="2157674"/>
                      <a:pt x="2222693" y="2406850"/>
                    </a:cubicBezTo>
                    <a:lnTo>
                      <a:pt x="2186506" y="2433910"/>
                    </a:lnTo>
                    <a:lnTo>
                      <a:pt x="6773772" y="2433910"/>
                    </a:lnTo>
                    <a:lnTo>
                      <a:pt x="6773772" y="2717074"/>
                    </a:lnTo>
                    <a:lnTo>
                      <a:pt x="1358537" y="2717074"/>
                    </a:lnTo>
                    <a:cubicBezTo>
                      <a:pt x="1077175" y="2717074"/>
                      <a:pt x="815790" y="2631541"/>
                      <a:pt x="598966" y="2485057"/>
                    </a:cubicBezTo>
                    <a:lnTo>
                      <a:pt x="494381" y="2406850"/>
                    </a:lnTo>
                    <a:cubicBezTo>
                      <a:pt x="192450" y="2157674"/>
                      <a:pt x="0" y="1780580"/>
                      <a:pt x="0" y="1358537"/>
                    </a:cubicBezTo>
                    <a:cubicBezTo>
                      <a:pt x="0" y="608238"/>
                      <a:pt x="608238" y="0"/>
                      <a:pt x="135853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a:solidFill>
                    <a:srgbClr val="2B3A42"/>
                  </a:solidFill>
                  <a:latin typeface="Arial" panose="020B0604020202020204"/>
                </a:endParaRPr>
              </a:p>
            </p:txBody>
          </p:sp>
          <p:sp>
            <p:nvSpPr>
              <p:cNvPr id="6" name="Freeform: Shape 5">
                <a:extLst>
                  <a:ext uri="{FF2B5EF4-FFF2-40B4-BE49-F238E27FC236}">
                    <a16:creationId xmlns:a16="http://schemas.microsoft.com/office/drawing/2014/main" id="{A447E06D-87AE-4311-8AE3-DD1629F50ACF}"/>
                  </a:ext>
                </a:extLst>
              </p:cNvPr>
              <p:cNvSpPr/>
              <p:nvPr/>
            </p:nvSpPr>
            <p:spPr>
              <a:xfrm>
                <a:off x="4730581" y="1600463"/>
                <a:ext cx="6773772" cy="2717075"/>
              </a:xfrm>
              <a:custGeom>
                <a:avLst/>
                <a:gdLst>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687285 w 6773772"/>
                  <a:gd name="connsiteY12" fmla="*/ 2673337 h 2717074"/>
                  <a:gd name="connsiteX13" fmla="*/ 1565429 w 6773772"/>
                  <a:gd name="connsiteY13" fmla="*/ 2701421 h 2717074"/>
                  <a:gd name="connsiteX14" fmla="*/ 1358537 w 6773772"/>
                  <a:gd name="connsiteY14" fmla="*/ 2717074 h 2717074"/>
                  <a:gd name="connsiteX15" fmla="*/ 598966 w 6773772"/>
                  <a:gd name="connsiteY15" fmla="*/ 2485057 h 2717074"/>
                  <a:gd name="connsiteX16" fmla="*/ 530568 w 6773772"/>
                  <a:gd name="connsiteY16" fmla="*/ 2433910 h 2717074"/>
                  <a:gd name="connsiteX17" fmla="*/ 494381 w 6773772"/>
                  <a:gd name="connsiteY17" fmla="*/ 2406850 h 2717074"/>
                  <a:gd name="connsiteX18" fmla="*/ 0 w 6773772"/>
                  <a:gd name="connsiteY18" fmla="*/ 1358537 h 2717074"/>
                  <a:gd name="connsiteX19" fmla="*/ 1358537 w 6773772"/>
                  <a:gd name="connsiteY19"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565429 w 6773772"/>
                  <a:gd name="connsiteY12" fmla="*/ 2701421 h 2717074"/>
                  <a:gd name="connsiteX13" fmla="*/ 1358537 w 6773772"/>
                  <a:gd name="connsiteY13" fmla="*/ 2717074 h 2717074"/>
                  <a:gd name="connsiteX14" fmla="*/ 598966 w 6773772"/>
                  <a:gd name="connsiteY14" fmla="*/ 2485057 h 2717074"/>
                  <a:gd name="connsiteX15" fmla="*/ 530568 w 6773772"/>
                  <a:gd name="connsiteY15" fmla="*/ 2433910 h 2717074"/>
                  <a:gd name="connsiteX16" fmla="*/ 494381 w 6773772"/>
                  <a:gd name="connsiteY16" fmla="*/ 2406850 h 2717074"/>
                  <a:gd name="connsiteX17" fmla="*/ 0 w 6773772"/>
                  <a:gd name="connsiteY17" fmla="*/ 1358537 h 2717074"/>
                  <a:gd name="connsiteX18" fmla="*/ 1358537 w 6773772"/>
                  <a:gd name="connsiteY18"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687285 w 6773772"/>
                  <a:gd name="connsiteY11" fmla="*/ 2717074 h 2717074"/>
                  <a:gd name="connsiteX12" fmla="*/ 1358537 w 6773772"/>
                  <a:gd name="connsiteY12" fmla="*/ 2717074 h 2717074"/>
                  <a:gd name="connsiteX13" fmla="*/ 598966 w 6773772"/>
                  <a:gd name="connsiteY13" fmla="*/ 2485057 h 2717074"/>
                  <a:gd name="connsiteX14" fmla="*/ 530568 w 6773772"/>
                  <a:gd name="connsiteY14" fmla="*/ 2433910 h 2717074"/>
                  <a:gd name="connsiteX15" fmla="*/ 494381 w 6773772"/>
                  <a:gd name="connsiteY15" fmla="*/ 2406850 h 2717074"/>
                  <a:gd name="connsiteX16" fmla="*/ 0 w 6773772"/>
                  <a:gd name="connsiteY16" fmla="*/ 1358537 h 2717074"/>
                  <a:gd name="connsiteX17" fmla="*/ 1358537 w 6773772"/>
                  <a:gd name="connsiteY17"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358537 w 6773772"/>
                  <a:gd name="connsiteY11" fmla="*/ 2717074 h 2717074"/>
                  <a:gd name="connsiteX12" fmla="*/ 598966 w 6773772"/>
                  <a:gd name="connsiteY12" fmla="*/ 2485057 h 2717074"/>
                  <a:gd name="connsiteX13" fmla="*/ 530568 w 6773772"/>
                  <a:gd name="connsiteY13" fmla="*/ 2433910 h 2717074"/>
                  <a:gd name="connsiteX14" fmla="*/ 494381 w 6773772"/>
                  <a:gd name="connsiteY14" fmla="*/ 2406850 h 2717074"/>
                  <a:gd name="connsiteX15" fmla="*/ 0 w 6773772"/>
                  <a:gd name="connsiteY15" fmla="*/ 1358537 h 2717074"/>
                  <a:gd name="connsiteX16" fmla="*/ 1358537 w 6773772"/>
                  <a:gd name="connsiteY16" fmla="*/ 0 h 2717074"/>
                  <a:gd name="connsiteX0" fmla="*/ 1358537 w 6773772"/>
                  <a:gd name="connsiteY0" fmla="*/ 283391 h 2717074"/>
                  <a:gd name="connsiteX1" fmla="*/ 283391 w 6773772"/>
                  <a:gd name="connsiteY1" fmla="*/ 1358537 h 2717074"/>
                  <a:gd name="connsiteX2" fmla="*/ 1358537 w 6773772"/>
                  <a:gd name="connsiteY2" fmla="*/ 2433683 h 2717074"/>
                  <a:gd name="connsiteX3" fmla="*/ 2433683 w 6773772"/>
                  <a:gd name="connsiteY3" fmla="*/ 1358537 h 2717074"/>
                  <a:gd name="connsiteX4" fmla="*/ 1358537 w 6773772"/>
                  <a:gd name="connsiteY4" fmla="*/ 283391 h 2717074"/>
                  <a:gd name="connsiteX5" fmla="*/ 1358537 w 6773772"/>
                  <a:gd name="connsiteY5" fmla="*/ 0 h 2717074"/>
                  <a:gd name="connsiteX6" fmla="*/ 2717074 w 6773772"/>
                  <a:gd name="connsiteY6" fmla="*/ 1358537 h 2717074"/>
                  <a:gd name="connsiteX7" fmla="*/ 2222693 w 6773772"/>
                  <a:gd name="connsiteY7" fmla="*/ 2406850 h 2717074"/>
                  <a:gd name="connsiteX8" fmla="*/ 2186506 w 6773772"/>
                  <a:gd name="connsiteY8" fmla="*/ 2433910 h 2717074"/>
                  <a:gd name="connsiteX9" fmla="*/ 6773772 w 6773772"/>
                  <a:gd name="connsiteY9" fmla="*/ 2433910 h 2717074"/>
                  <a:gd name="connsiteX10" fmla="*/ 6773772 w 6773772"/>
                  <a:gd name="connsiteY10" fmla="*/ 2717074 h 2717074"/>
                  <a:gd name="connsiteX11" fmla="*/ 1358537 w 6773772"/>
                  <a:gd name="connsiteY11" fmla="*/ 2717074 h 2717074"/>
                  <a:gd name="connsiteX12" fmla="*/ 598966 w 6773772"/>
                  <a:gd name="connsiteY12" fmla="*/ 2485057 h 2717074"/>
                  <a:gd name="connsiteX13" fmla="*/ 494381 w 6773772"/>
                  <a:gd name="connsiteY13" fmla="*/ 2406850 h 2717074"/>
                  <a:gd name="connsiteX14" fmla="*/ 0 w 6773772"/>
                  <a:gd name="connsiteY14" fmla="*/ 1358537 h 2717074"/>
                  <a:gd name="connsiteX15" fmla="*/ 1358537 w 6773772"/>
                  <a:gd name="connsiteY15" fmla="*/ 0 h 27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73772" h="2717074">
                    <a:moveTo>
                      <a:pt x="1358537" y="283391"/>
                    </a:moveTo>
                    <a:cubicBezTo>
                      <a:pt x="764750" y="283391"/>
                      <a:pt x="283391" y="764750"/>
                      <a:pt x="283391" y="1358537"/>
                    </a:cubicBezTo>
                    <a:cubicBezTo>
                      <a:pt x="283391" y="1952324"/>
                      <a:pt x="764750" y="2433683"/>
                      <a:pt x="1358537" y="2433683"/>
                    </a:cubicBezTo>
                    <a:cubicBezTo>
                      <a:pt x="1952324" y="2433683"/>
                      <a:pt x="2433683" y="1952324"/>
                      <a:pt x="2433683" y="1358537"/>
                    </a:cubicBezTo>
                    <a:cubicBezTo>
                      <a:pt x="2433683" y="764750"/>
                      <a:pt x="1952324" y="283391"/>
                      <a:pt x="1358537" y="283391"/>
                    </a:cubicBezTo>
                    <a:close/>
                    <a:moveTo>
                      <a:pt x="1358537" y="0"/>
                    </a:moveTo>
                    <a:cubicBezTo>
                      <a:pt x="2108836" y="0"/>
                      <a:pt x="2717074" y="608238"/>
                      <a:pt x="2717074" y="1358537"/>
                    </a:cubicBezTo>
                    <a:cubicBezTo>
                      <a:pt x="2717074" y="1780580"/>
                      <a:pt x="2524624" y="2157674"/>
                      <a:pt x="2222693" y="2406850"/>
                    </a:cubicBezTo>
                    <a:lnTo>
                      <a:pt x="2186506" y="2433910"/>
                    </a:lnTo>
                    <a:lnTo>
                      <a:pt x="6773772" y="2433910"/>
                    </a:lnTo>
                    <a:lnTo>
                      <a:pt x="6773772" y="2717074"/>
                    </a:lnTo>
                    <a:lnTo>
                      <a:pt x="1358537" y="2717074"/>
                    </a:lnTo>
                    <a:cubicBezTo>
                      <a:pt x="1077175" y="2717074"/>
                      <a:pt x="815790" y="2631541"/>
                      <a:pt x="598966" y="2485057"/>
                    </a:cubicBezTo>
                    <a:lnTo>
                      <a:pt x="494381" y="2406850"/>
                    </a:lnTo>
                    <a:cubicBezTo>
                      <a:pt x="192450" y="2157674"/>
                      <a:pt x="0" y="1780580"/>
                      <a:pt x="0" y="1358537"/>
                    </a:cubicBezTo>
                    <a:cubicBezTo>
                      <a:pt x="0" y="608238"/>
                      <a:pt x="608238" y="0"/>
                      <a:pt x="135853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a:solidFill>
                    <a:srgbClr val="2B3A42"/>
                  </a:solidFill>
                  <a:latin typeface="Arial" panose="020B0604020202020204"/>
                </a:endParaRPr>
              </a:p>
            </p:txBody>
          </p:sp>
          <p:sp>
            <p:nvSpPr>
              <p:cNvPr id="7" name="Freeform: Shape 6">
                <a:extLst>
                  <a:ext uri="{FF2B5EF4-FFF2-40B4-BE49-F238E27FC236}">
                    <a16:creationId xmlns:a16="http://schemas.microsoft.com/office/drawing/2014/main" id="{71C706CE-FCC9-45BF-9B36-597DFC572688}"/>
                  </a:ext>
                </a:extLst>
              </p:cNvPr>
              <p:cNvSpPr/>
              <p:nvPr/>
            </p:nvSpPr>
            <p:spPr>
              <a:xfrm>
                <a:off x="8978652" y="1600463"/>
                <a:ext cx="3213348" cy="2717075"/>
              </a:xfrm>
              <a:custGeom>
                <a:avLst/>
                <a:gdLst>
                  <a:gd name="connsiteX0" fmla="*/ 1358537 w 3213348"/>
                  <a:gd name="connsiteY0" fmla="*/ 283391 h 2717074"/>
                  <a:gd name="connsiteX1" fmla="*/ 283391 w 3213348"/>
                  <a:gd name="connsiteY1" fmla="*/ 1358537 h 2717074"/>
                  <a:gd name="connsiteX2" fmla="*/ 1358537 w 3213348"/>
                  <a:gd name="connsiteY2" fmla="*/ 2433683 h 2717074"/>
                  <a:gd name="connsiteX3" fmla="*/ 2433683 w 3213348"/>
                  <a:gd name="connsiteY3" fmla="*/ 1358537 h 2717074"/>
                  <a:gd name="connsiteX4" fmla="*/ 1358537 w 3213348"/>
                  <a:gd name="connsiteY4" fmla="*/ 283391 h 2717074"/>
                  <a:gd name="connsiteX5" fmla="*/ 1358537 w 3213348"/>
                  <a:gd name="connsiteY5" fmla="*/ 0 h 2717074"/>
                  <a:gd name="connsiteX6" fmla="*/ 2717074 w 3213348"/>
                  <a:gd name="connsiteY6" fmla="*/ 1358537 h 2717074"/>
                  <a:gd name="connsiteX7" fmla="*/ 2222693 w 3213348"/>
                  <a:gd name="connsiteY7" fmla="*/ 2406850 h 2717074"/>
                  <a:gd name="connsiteX8" fmla="*/ 2186506 w 3213348"/>
                  <a:gd name="connsiteY8" fmla="*/ 2433910 h 2717074"/>
                  <a:gd name="connsiteX9" fmla="*/ 3213348 w 3213348"/>
                  <a:gd name="connsiteY9" fmla="*/ 2433910 h 2717074"/>
                  <a:gd name="connsiteX10" fmla="*/ 3213348 w 3213348"/>
                  <a:gd name="connsiteY10" fmla="*/ 2717074 h 2717074"/>
                  <a:gd name="connsiteX11" fmla="*/ 1358537 w 3213348"/>
                  <a:gd name="connsiteY11" fmla="*/ 2717074 h 2717074"/>
                  <a:gd name="connsiteX12" fmla="*/ 598966 w 3213348"/>
                  <a:gd name="connsiteY12" fmla="*/ 2485057 h 2717074"/>
                  <a:gd name="connsiteX13" fmla="*/ 494381 w 3213348"/>
                  <a:gd name="connsiteY13" fmla="*/ 2406850 h 2717074"/>
                  <a:gd name="connsiteX14" fmla="*/ 0 w 3213348"/>
                  <a:gd name="connsiteY14" fmla="*/ 1358537 h 2717074"/>
                  <a:gd name="connsiteX15" fmla="*/ 1358537 w 3213348"/>
                  <a:gd name="connsiteY15" fmla="*/ 0 h 27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13348" h="2717074">
                    <a:moveTo>
                      <a:pt x="1358537" y="283391"/>
                    </a:moveTo>
                    <a:cubicBezTo>
                      <a:pt x="764750" y="283391"/>
                      <a:pt x="283391" y="764750"/>
                      <a:pt x="283391" y="1358537"/>
                    </a:cubicBezTo>
                    <a:cubicBezTo>
                      <a:pt x="283391" y="1952324"/>
                      <a:pt x="764750" y="2433683"/>
                      <a:pt x="1358537" y="2433683"/>
                    </a:cubicBezTo>
                    <a:cubicBezTo>
                      <a:pt x="1952324" y="2433683"/>
                      <a:pt x="2433683" y="1952324"/>
                      <a:pt x="2433683" y="1358537"/>
                    </a:cubicBezTo>
                    <a:cubicBezTo>
                      <a:pt x="2433683" y="764750"/>
                      <a:pt x="1952324" y="283391"/>
                      <a:pt x="1358537" y="283391"/>
                    </a:cubicBezTo>
                    <a:close/>
                    <a:moveTo>
                      <a:pt x="1358537" y="0"/>
                    </a:moveTo>
                    <a:cubicBezTo>
                      <a:pt x="2108836" y="0"/>
                      <a:pt x="2717074" y="608238"/>
                      <a:pt x="2717074" y="1358537"/>
                    </a:cubicBezTo>
                    <a:cubicBezTo>
                      <a:pt x="2717074" y="1780580"/>
                      <a:pt x="2524624" y="2157674"/>
                      <a:pt x="2222693" y="2406850"/>
                    </a:cubicBezTo>
                    <a:lnTo>
                      <a:pt x="2186506" y="2433910"/>
                    </a:lnTo>
                    <a:lnTo>
                      <a:pt x="3213348" y="2433910"/>
                    </a:lnTo>
                    <a:lnTo>
                      <a:pt x="3213348" y="2717074"/>
                    </a:lnTo>
                    <a:lnTo>
                      <a:pt x="1358537" y="2717074"/>
                    </a:lnTo>
                    <a:cubicBezTo>
                      <a:pt x="1077175" y="2717074"/>
                      <a:pt x="815790" y="2631541"/>
                      <a:pt x="598966" y="2485057"/>
                    </a:cubicBezTo>
                    <a:lnTo>
                      <a:pt x="494381" y="2406850"/>
                    </a:lnTo>
                    <a:cubicBezTo>
                      <a:pt x="192450" y="2157674"/>
                      <a:pt x="0" y="1780580"/>
                      <a:pt x="0" y="1358537"/>
                    </a:cubicBezTo>
                    <a:cubicBezTo>
                      <a:pt x="0" y="608238"/>
                      <a:pt x="608238" y="0"/>
                      <a:pt x="1358537"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a:solidFill>
                    <a:srgbClr val="2B3A42"/>
                  </a:solidFill>
                  <a:latin typeface="Arial" panose="020B0604020202020204"/>
                </a:endParaRPr>
              </a:p>
            </p:txBody>
          </p:sp>
          <p:sp>
            <p:nvSpPr>
              <p:cNvPr id="9" name="Oval 8">
                <a:extLst>
                  <a:ext uri="{FF2B5EF4-FFF2-40B4-BE49-F238E27FC236}">
                    <a16:creationId xmlns:a16="http://schemas.microsoft.com/office/drawing/2014/main" id="{087DF970-E318-44A3-9874-C450AF19A1D3}"/>
                  </a:ext>
                </a:extLst>
              </p:cNvPr>
              <p:cNvSpPr/>
              <p:nvPr/>
            </p:nvSpPr>
            <p:spPr>
              <a:xfrm>
                <a:off x="2415383" y="1766658"/>
                <a:ext cx="914400" cy="914400"/>
              </a:xfrm>
              <a:prstGeom prst="ellipse">
                <a:avLst/>
              </a:prstGeom>
              <a:solidFill>
                <a:schemeClr val="accent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5800" fontAlgn="auto">
                  <a:spcBef>
                    <a:spcPts val="0"/>
                  </a:spcBef>
                  <a:spcAft>
                    <a:spcPts val="0"/>
                  </a:spcAft>
                </a:pPr>
                <a:r>
                  <a:rPr lang="en-US" sz="3300" b="1" dirty="0">
                    <a:solidFill>
                      <a:prstClr val="white"/>
                    </a:solidFill>
                    <a:latin typeface="Arial" panose="020B0604020202020204"/>
                  </a:rPr>
                  <a:t>1</a:t>
                </a:r>
              </a:p>
            </p:txBody>
          </p:sp>
          <p:sp>
            <p:nvSpPr>
              <p:cNvPr id="10" name="Oval 9">
                <a:extLst>
                  <a:ext uri="{FF2B5EF4-FFF2-40B4-BE49-F238E27FC236}">
                    <a16:creationId xmlns:a16="http://schemas.microsoft.com/office/drawing/2014/main" id="{6684D2F5-3440-418A-B42B-5A81E069F48C}"/>
                  </a:ext>
                </a:extLst>
              </p:cNvPr>
              <p:cNvSpPr/>
              <p:nvPr/>
            </p:nvSpPr>
            <p:spPr>
              <a:xfrm>
                <a:off x="6663453" y="1766658"/>
                <a:ext cx="914400" cy="914400"/>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5800" fontAlgn="auto">
                  <a:spcBef>
                    <a:spcPts val="0"/>
                  </a:spcBef>
                  <a:spcAft>
                    <a:spcPts val="0"/>
                  </a:spcAft>
                </a:pPr>
                <a:r>
                  <a:rPr lang="en-US" sz="3000" b="1" dirty="0">
                    <a:solidFill>
                      <a:prstClr val="white"/>
                    </a:solidFill>
                    <a:latin typeface="Arial" panose="020B0604020202020204"/>
                  </a:rPr>
                  <a:t>2</a:t>
                </a:r>
              </a:p>
            </p:txBody>
          </p:sp>
          <p:sp>
            <p:nvSpPr>
              <p:cNvPr id="11" name="Oval 10">
                <a:extLst>
                  <a:ext uri="{FF2B5EF4-FFF2-40B4-BE49-F238E27FC236}">
                    <a16:creationId xmlns:a16="http://schemas.microsoft.com/office/drawing/2014/main" id="{08D4EC0A-3D75-4E8F-9DDE-D489B2C50B15}"/>
                  </a:ext>
                </a:extLst>
              </p:cNvPr>
              <p:cNvSpPr/>
              <p:nvPr/>
            </p:nvSpPr>
            <p:spPr>
              <a:xfrm>
                <a:off x="11021444" y="1766658"/>
                <a:ext cx="914400" cy="914400"/>
              </a:xfrm>
              <a:prstGeom prst="ellipse">
                <a:avLst/>
              </a:prstGeom>
              <a:solidFill>
                <a:schemeClr val="accent5"/>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5800" fontAlgn="auto">
                  <a:spcBef>
                    <a:spcPts val="0"/>
                  </a:spcBef>
                  <a:spcAft>
                    <a:spcPts val="0"/>
                  </a:spcAft>
                </a:pPr>
                <a:r>
                  <a:rPr lang="en-US" sz="3000" b="1" dirty="0">
                    <a:solidFill>
                      <a:prstClr val="white"/>
                    </a:solidFill>
                    <a:latin typeface="Arial" panose="020B0604020202020204"/>
                  </a:rPr>
                  <a:t>3</a:t>
                </a:r>
              </a:p>
            </p:txBody>
          </p:sp>
          <p:sp>
            <p:nvSpPr>
              <p:cNvPr id="16" name="Freeform: Shape 15">
                <a:extLst>
                  <a:ext uri="{FF2B5EF4-FFF2-40B4-BE49-F238E27FC236}">
                    <a16:creationId xmlns:a16="http://schemas.microsoft.com/office/drawing/2014/main" id="{D07A93AE-C080-4EB1-9F4A-3902A41E5C90}"/>
                  </a:ext>
                </a:extLst>
              </p:cNvPr>
              <p:cNvSpPr/>
              <p:nvPr/>
            </p:nvSpPr>
            <p:spPr>
              <a:xfrm>
                <a:off x="4202566" y="4034374"/>
                <a:ext cx="1893434" cy="283164"/>
              </a:xfrm>
              <a:custGeom>
                <a:avLst/>
                <a:gdLst>
                  <a:gd name="connsiteX0" fmla="*/ 0 w 1893434"/>
                  <a:gd name="connsiteY0" fmla="*/ 0 h 283164"/>
                  <a:gd name="connsiteX1" fmla="*/ 1065465 w 1893434"/>
                  <a:gd name="connsiteY1" fmla="*/ 0 h 283164"/>
                  <a:gd name="connsiteX2" fmla="*/ 1133863 w 1893434"/>
                  <a:gd name="connsiteY2" fmla="*/ 51147 h 283164"/>
                  <a:gd name="connsiteX3" fmla="*/ 1893434 w 1893434"/>
                  <a:gd name="connsiteY3" fmla="*/ 283164 h 283164"/>
                  <a:gd name="connsiteX4" fmla="*/ 0 w 1893434"/>
                  <a:gd name="connsiteY4" fmla="*/ 283164 h 283164"/>
                  <a:gd name="connsiteX5" fmla="*/ 0 w 1893434"/>
                  <a:gd name="connsiteY5" fmla="*/ 0 h 28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3434" h="283164">
                    <a:moveTo>
                      <a:pt x="0" y="0"/>
                    </a:moveTo>
                    <a:lnTo>
                      <a:pt x="1065465" y="0"/>
                    </a:lnTo>
                    <a:lnTo>
                      <a:pt x="1133863" y="51147"/>
                    </a:lnTo>
                    <a:cubicBezTo>
                      <a:pt x="1350687" y="197631"/>
                      <a:pt x="1612072" y="283164"/>
                      <a:pt x="1893434" y="283164"/>
                    </a:cubicBezTo>
                    <a:lnTo>
                      <a:pt x="0" y="283164"/>
                    </a:lnTo>
                    <a:lnTo>
                      <a:pt x="0" y="0"/>
                    </a:lnTo>
                    <a:close/>
                  </a:path>
                </a:pathLst>
              </a:custGeom>
              <a:gradFill flip="none" rotWithShape="1">
                <a:gsLst>
                  <a:gs pos="50000">
                    <a:schemeClr val="accent2"/>
                  </a:gs>
                  <a:gs pos="75000">
                    <a:schemeClr val="tx1">
                      <a:lumMod val="50000"/>
                    </a:schemeClr>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a:solidFill>
                    <a:srgbClr val="2B3A42"/>
                  </a:solidFill>
                  <a:latin typeface="Arial" panose="020B0604020202020204"/>
                </a:endParaRPr>
              </a:p>
            </p:txBody>
          </p:sp>
          <p:sp>
            <p:nvSpPr>
              <p:cNvPr id="17" name="Freeform: Shape 16">
                <a:extLst>
                  <a:ext uri="{FF2B5EF4-FFF2-40B4-BE49-F238E27FC236}">
                    <a16:creationId xmlns:a16="http://schemas.microsoft.com/office/drawing/2014/main" id="{61DE7CBC-75A7-498D-A89C-76FA7D5FF1B1}"/>
                  </a:ext>
                </a:extLst>
              </p:cNvPr>
              <p:cNvSpPr/>
              <p:nvPr/>
            </p:nvSpPr>
            <p:spPr>
              <a:xfrm>
                <a:off x="8423647" y="4034374"/>
                <a:ext cx="1893434" cy="283164"/>
              </a:xfrm>
              <a:custGeom>
                <a:avLst/>
                <a:gdLst>
                  <a:gd name="connsiteX0" fmla="*/ 0 w 1893434"/>
                  <a:gd name="connsiteY0" fmla="*/ 0 h 283164"/>
                  <a:gd name="connsiteX1" fmla="*/ 1065465 w 1893434"/>
                  <a:gd name="connsiteY1" fmla="*/ 0 h 283164"/>
                  <a:gd name="connsiteX2" fmla="*/ 1133863 w 1893434"/>
                  <a:gd name="connsiteY2" fmla="*/ 51147 h 283164"/>
                  <a:gd name="connsiteX3" fmla="*/ 1893434 w 1893434"/>
                  <a:gd name="connsiteY3" fmla="*/ 283164 h 283164"/>
                  <a:gd name="connsiteX4" fmla="*/ 0 w 1893434"/>
                  <a:gd name="connsiteY4" fmla="*/ 283164 h 283164"/>
                  <a:gd name="connsiteX5" fmla="*/ 0 w 1893434"/>
                  <a:gd name="connsiteY5" fmla="*/ 0 h 28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3434" h="283164">
                    <a:moveTo>
                      <a:pt x="0" y="0"/>
                    </a:moveTo>
                    <a:lnTo>
                      <a:pt x="1065465" y="0"/>
                    </a:lnTo>
                    <a:lnTo>
                      <a:pt x="1133863" y="51147"/>
                    </a:lnTo>
                    <a:cubicBezTo>
                      <a:pt x="1350687" y="197631"/>
                      <a:pt x="1612072" y="283164"/>
                      <a:pt x="1893434" y="283164"/>
                    </a:cubicBezTo>
                    <a:lnTo>
                      <a:pt x="0" y="283164"/>
                    </a:lnTo>
                    <a:lnTo>
                      <a:pt x="0" y="0"/>
                    </a:lnTo>
                    <a:close/>
                  </a:path>
                </a:pathLst>
              </a:custGeom>
              <a:gradFill flip="none" rotWithShape="1">
                <a:gsLst>
                  <a:gs pos="50000">
                    <a:schemeClr val="accent1"/>
                  </a:gs>
                  <a:gs pos="75000">
                    <a:schemeClr val="tx1">
                      <a:lumMod val="75000"/>
                    </a:schemeClr>
                  </a:gs>
                </a:gsLst>
                <a:lin ang="20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a:solidFill>
                    <a:srgbClr val="2B3A42"/>
                  </a:solidFill>
                  <a:latin typeface="Arial" panose="020B0604020202020204"/>
                </a:endParaRPr>
              </a:p>
            </p:txBody>
          </p:sp>
          <p:sp>
            <p:nvSpPr>
              <p:cNvPr id="18" name="Freeform: Shape 17">
                <a:extLst>
                  <a:ext uri="{FF2B5EF4-FFF2-40B4-BE49-F238E27FC236}">
                    <a16:creationId xmlns:a16="http://schemas.microsoft.com/office/drawing/2014/main" id="{F349AFA4-0F0E-4987-81ED-2A9A75876334}"/>
                  </a:ext>
                </a:extLst>
              </p:cNvPr>
              <p:cNvSpPr/>
              <p:nvPr/>
            </p:nvSpPr>
            <p:spPr>
              <a:xfrm>
                <a:off x="6086915" y="3326244"/>
                <a:ext cx="1313966" cy="708130"/>
              </a:xfrm>
              <a:custGeom>
                <a:avLst/>
                <a:gdLst>
                  <a:gd name="connsiteX0" fmla="*/ 1013444 w 1309738"/>
                  <a:gd name="connsiteY0" fmla="*/ 0 h 719138"/>
                  <a:gd name="connsiteX1" fmla="*/ 1309738 w 1309738"/>
                  <a:gd name="connsiteY1" fmla="*/ 0 h 719138"/>
                  <a:gd name="connsiteX2" fmla="*/ 1297460 w 1309738"/>
                  <a:gd name="connsiteY2" fmla="*/ 47752 h 719138"/>
                  <a:gd name="connsiteX3" fmla="*/ 864156 w 1309738"/>
                  <a:gd name="connsiteY3" fmla="*/ 692078 h 719138"/>
                  <a:gd name="connsiteX4" fmla="*/ 827969 w 1309738"/>
                  <a:gd name="connsiteY4" fmla="*/ 719138 h 719138"/>
                  <a:gd name="connsiteX5" fmla="*/ 0 w 1309738"/>
                  <a:gd name="connsiteY5" fmla="*/ 719138 h 719138"/>
                  <a:gd name="connsiteX6" fmla="*/ 0 w 1309738"/>
                  <a:gd name="connsiteY6" fmla="*/ 718911 h 719138"/>
                  <a:gd name="connsiteX7" fmla="*/ 990656 w 1309738"/>
                  <a:gd name="connsiteY7" fmla="*/ 62260 h 7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9738" h="719138">
                    <a:moveTo>
                      <a:pt x="1013444" y="0"/>
                    </a:moveTo>
                    <a:lnTo>
                      <a:pt x="1309738" y="0"/>
                    </a:lnTo>
                    <a:lnTo>
                      <a:pt x="1297460" y="47752"/>
                    </a:lnTo>
                    <a:cubicBezTo>
                      <a:pt x="1218072" y="302991"/>
                      <a:pt x="1065443" y="525961"/>
                      <a:pt x="864156" y="692078"/>
                    </a:cubicBezTo>
                    <a:lnTo>
                      <a:pt x="827969" y="719138"/>
                    </a:lnTo>
                    <a:lnTo>
                      <a:pt x="0" y="719138"/>
                    </a:lnTo>
                    <a:lnTo>
                      <a:pt x="0" y="718911"/>
                    </a:lnTo>
                    <a:cubicBezTo>
                      <a:pt x="445340" y="718911"/>
                      <a:pt x="827440" y="448147"/>
                      <a:pt x="990656" y="62260"/>
                    </a:cubicBezTo>
                    <a:close/>
                  </a:path>
                </a:pathLst>
              </a:custGeom>
              <a:gradFill flip="none" rotWithShape="1">
                <a:gsLst>
                  <a:gs pos="50000">
                    <a:schemeClr val="accent1"/>
                  </a:gs>
                  <a:gs pos="100000">
                    <a:schemeClr val="tx1">
                      <a:lumMod val="50000"/>
                    </a:schemeClr>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a:solidFill>
                    <a:srgbClr val="2B3A42"/>
                  </a:solidFill>
                  <a:latin typeface="Arial" panose="020B0604020202020204"/>
                </a:endParaRPr>
              </a:p>
            </p:txBody>
          </p:sp>
          <p:sp>
            <p:nvSpPr>
              <p:cNvPr id="21" name="Freeform: Shape 20">
                <a:extLst>
                  <a:ext uri="{FF2B5EF4-FFF2-40B4-BE49-F238E27FC236}">
                    <a16:creationId xmlns:a16="http://schemas.microsoft.com/office/drawing/2014/main" id="{F2C8C041-9C24-448D-982A-84C23E1434E6}"/>
                  </a:ext>
                </a:extLst>
              </p:cNvPr>
              <p:cNvSpPr/>
              <p:nvPr/>
            </p:nvSpPr>
            <p:spPr>
              <a:xfrm>
                <a:off x="10329847" y="3326244"/>
                <a:ext cx="1313966" cy="708130"/>
              </a:xfrm>
              <a:custGeom>
                <a:avLst/>
                <a:gdLst>
                  <a:gd name="connsiteX0" fmla="*/ 1013444 w 1309738"/>
                  <a:gd name="connsiteY0" fmla="*/ 0 h 719138"/>
                  <a:gd name="connsiteX1" fmla="*/ 1309738 w 1309738"/>
                  <a:gd name="connsiteY1" fmla="*/ 0 h 719138"/>
                  <a:gd name="connsiteX2" fmla="*/ 1297460 w 1309738"/>
                  <a:gd name="connsiteY2" fmla="*/ 47752 h 719138"/>
                  <a:gd name="connsiteX3" fmla="*/ 864156 w 1309738"/>
                  <a:gd name="connsiteY3" fmla="*/ 692078 h 719138"/>
                  <a:gd name="connsiteX4" fmla="*/ 827969 w 1309738"/>
                  <a:gd name="connsiteY4" fmla="*/ 719138 h 719138"/>
                  <a:gd name="connsiteX5" fmla="*/ 0 w 1309738"/>
                  <a:gd name="connsiteY5" fmla="*/ 719138 h 719138"/>
                  <a:gd name="connsiteX6" fmla="*/ 0 w 1309738"/>
                  <a:gd name="connsiteY6" fmla="*/ 718911 h 719138"/>
                  <a:gd name="connsiteX7" fmla="*/ 990656 w 1309738"/>
                  <a:gd name="connsiteY7" fmla="*/ 62260 h 7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9738" h="719138">
                    <a:moveTo>
                      <a:pt x="1013444" y="0"/>
                    </a:moveTo>
                    <a:lnTo>
                      <a:pt x="1309738" y="0"/>
                    </a:lnTo>
                    <a:lnTo>
                      <a:pt x="1297460" y="47752"/>
                    </a:lnTo>
                    <a:cubicBezTo>
                      <a:pt x="1218072" y="302991"/>
                      <a:pt x="1065443" y="525961"/>
                      <a:pt x="864156" y="692078"/>
                    </a:cubicBezTo>
                    <a:lnTo>
                      <a:pt x="827969" y="719138"/>
                    </a:lnTo>
                    <a:lnTo>
                      <a:pt x="0" y="719138"/>
                    </a:lnTo>
                    <a:lnTo>
                      <a:pt x="0" y="718911"/>
                    </a:lnTo>
                    <a:cubicBezTo>
                      <a:pt x="445340" y="718911"/>
                      <a:pt x="827440" y="448147"/>
                      <a:pt x="990656" y="62260"/>
                    </a:cubicBezTo>
                    <a:close/>
                  </a:path>
                </a:pathLst>
              </a:custGeom>
              <a:gradFill flip="none" rotWithShape="1">
                <a:gsLst>
                  <a:gs pos="50000">
                    <a:schemeClr val="accent5"/>
                  </a:gs>
                  <a:gs pos="100000">
                    <a:schemeClr val="tx1">
                      <a:lumMod val="50000"/>
                    </a:schemeClr>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a:solidFill>
                    <a:srgbClr val="2B3A42"/>
                  </a:solidFill>
                  <a:latin typeface="Arial" panose="020B0604020202020204"/>
                </a:endParaRPr>
              </a:p>
            </p:txBody>
          </p:sp>
          <p:sp>
            <p:nvSpPr>
              <p:cNvPr id="22" name="Freeform: Shape 21">
                <a:extLst>
                  <a:ext uri="{FF2B5EF4-FFF2-40B4-BE49-F238E27FC236}">
                    <a16:creationId xmlns:a16="http://schemas.microsoft.com/office/drawing/2014/main" id="{AD7E84AF-E021-4C15-81FA-B982ACF25249}"/>
                  </a:ext>
                </a:extLst>
              </p:cNvPr>
              <p:cNvSpPr/>
              <p:nvPr/>
            </p:nvSpPr>
            <p:spPr>
              <a:xfrm>
                <a:off x="1827030" y="3325694"/>
                <a:ext cx="1309738" cy="719138"/>
              </a:xfrm>
              <a:custGeom>
                <a:avLst/>
                <a:gdLst>
                  <a:gd name="connsiteX0" fmla="*/ 1013444 w 1309738"/>
                  <a:gd name="connsiteY0" fmla="*/ 0 h 719138"/>
                  <a:gd name="connsiteX1" fmla="*/ 1309738 w 1309738"/>
                  <a:gd name="connsiteY1" fmla="*/ 0 h 719138"/>
                  <a:gd name="connsiteX2" fmla="*/ 1297460 w 1309738"/>
                  <a:gd name="connsiteY2" fmla="*/ 47752 h 719138"/>
                  <a:gd name="connsiteX3" fmla="*/ 864156 w 1309738"/>
                  <a:gd name="connsiteY3" fmla="*/ 692078 h 719138"/>
                  <a:gd name="connsiteX4" fmla="*/ 827969 w 1309738"/>
                  <a:gd name="connsiteY4" fmla="*/ 719138 h 719138"/>
                  <a:gd name="connsiteX5" fmla="*/ 0 w 1309738"/>
                  <a:gd name="connsiteY5" fmla="*/ 719138 h 719138"/>
                  <a:gd name="connsiteX6" fmla="*/ 0 w 1309738"/>
                  <a:gd name="connsiteY6" fmla="*/ 718911 h 719138"/>
                  <a:gd name="connsiteX7" fmla="*/ 990656 w 1309738"/>
                  <a:gd name="connsiteY7" fmla="*/ 62260 h 71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9738" h="719138">
                    <a:moveTo>
                      <a:pt x="1013444" y="0"/>
                    </a:moveTo>
                    <a:lnTo>
                      <a:pt x="1309738" y="0"/>
                    </a:lnTo>
                    <a:lnTo>
                      <a:pt x="1297460" y="47752"/>
                    </a:lnTo>
                    <a:cubicBezTo>
                      <a:pt x="1218072" y="302991"/>
                      <a:pt x="1065443" y="525961"/>
                      <a:pt x="864156" y="692078"/>
                    </a:cubicBezTo>
                    <a:lnTo>
                      <a:pt x="827969" y="719138"/>
                    </a:lnTo>
                    <a:lnTo>
                      <a:pt x="0" y="719138"/>
                    </a:lnTo>
                    <a:lnTo>
                      <a:pt x="0" y="718911"/>
                    </a:lnTo>
                    <a:cubicBezTo>
                      <a:pt x="445340" y="718911"/>
                      <a:pt x="827440" y="448147"/>
                      <a:pt x="990656" y="62260"/>
                    </a:cubicBezTo>
                    <a:close/>
                  </a:path>
                </a:pathLst>
              </a:custGeom>
              <a:gradFill flip="none" rotWithShape="1">
                <a:gsLst>
                  <a:gs pos="50000">
                    <a:schemeClr val="accent2"/>
                  </a:gs>
                  <a:gs pos="100000">
                    <a:schemeClr val="tx1">
                      <a:lumMod val="50000"/>
                    </a:schemeClr>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en-US" sz="1350">
                  <a:solidFill>
                    <a:srgbClr val="2B3A42"/>
                  </a:solidFill>
                  <a:latin typeface="Arial" panose="020B0604020202020204"/>
                </a:endParaRPr>
              </a:p>
            </p:txBody>
          </p:sp>
          <p:sp>
            <p:nvSpPr>
              <p:cNvPr id="23" name="Rectangle 22">
                <a:extLst>
                  <a:ext uri="{FF2B5EF4-FFF2-40B4-BE49-F238E27FC236}">
                    <a16:creationId xmlns:a16="http://schemas.microsoft.com/office/drawing/2014/main" id="{35353376-50BE-4C58-8A86-BD2981849E61}"/>
                  </a:ext>
                </a:extLst>
              </p:cNvPr>
              <p:cNvSpPr/>
              <p:nvPr/>
            </p:nvSpPr>
            <p:spPr>
              <a:xfrm>
                <a:off x="856435" y="2742843"/>
                <a:ext cx="1940495" cy="646331"/>
              </a:xfrm>
              <a:prstGeom prst="rect">
                <a:avLst/>
              </a:prstGeom>
            </p:spPr>
            <p:txBody>
              <a:bodyPr wrap="square">
                <a:spAutoFit/>
              </a:bodyPr>
              <a:lstStyle/>
              <a:p>
                <a:pPr algn="ctr" defTabSz="566738" fontAlgn="auto">
                  <a:lnSpc>
                    <a:spcPct val="90000"/>
                  </a:lnSpc>
                  <a:spcAft>
                    <a:spcPct val="35000"/>
                  </a:spcAft>
                </a:pPr>
                <a:r>
                  <a:rPr lang="en-US" sz="2000" b="1" dirty="0">
                    <a:solidFill>
                      <a:schemeClr val="accent2"/>
                    </a:solidFill>
                    <a:latin typeface="Arial" panose="020B0604020202020204"/>
                  </a:rPr>
                  <a:t>Institutional strengthening</a:t>
                </a:r>
              </a:p>
            </p:txBody>
          </p:sp>
          <p:sp>
            <p:nvSpPr>
              <p:cNvPr id="24" name="Rectangle 23">
                <a:extLst>
                  <a:ext uri="{FF2B5EF4-FFF2-40B4-BE49-F238E27FC236}">
                    <a16:creationId xmlns:a16="http://schemas.microsoft.com/office/drawing/2014/main" id="{BA65B955-B348-4B1C-849A-749813ACE511}"/>
                  </a:ext>
                </a:extLst>
              </p:cNvPr>
              <p:cNvSpPr/>
              <p:nvPr/>
            </p:nvSpPr>
            <p:spPr>
              <a:xfrm>
                <a:off x="5116667" y="2604343"/>
                <a:ext cx="1940495" cy="923330"/>
              </a:xfrm>
              <a:prstGeom prst="rect">
                <a:avLst/>
              </a:prstGeom>
            </p:spPr>
            <p:txBody>
              <a:bodyPr wrap="square">
                <a:spAutoFit/>
              </a:bodyPr>
              <a:lstStyle/>
              <a:p>
                <a:pPr algn="ctr" defTabSz="566738" fontAlgn="auto">
                  <a:lnSpc>
                    <a:spcPct val="90000"/>
                  </a:lnSpc>
                  <a:spcAft>
                    <a:spcPct val="35000"/>
                  </a:spcAft>
                </a:pPr>
                <a:r>
                  <a:rPr lang="en-US" sz="2000" b="1" dirty="0">
                    <a:solidFill>
                      <a:schemeClr val="accent1"/>
                    </a:solidFill>
                    <a:latin typeface="Arial" panose="020B0604020202020204"/>
                  </a:rPr>
                  <a:t>Knowledge and database augmentation</a:t>
                </a:r>
              </a:p>
            </p:txBody>
          </p:sp>
          <p:sp>
            <p:nvSpPr>
              <p:cNvPr id="25" name="Rectangle 24">
                <a:extLst>
                  <a:ext uri="{FF2B5EF4-FFF2-40B4-BE49-F238E27FC236}">
                    <a16:creationId xmlns:a16="http://schemas.microsoft.com/office/drawing/2014/main" id="{1099EF2A-DFCA-473F-9F87-17155720E1B2}"/>
                  </a:ext>
                </a:extLst>
              </p:cNvPr>
              <p:cNvSpPr/>
              <p:nvPr/>
            </p:nvSpPr>
            <p:spPr>
              <a:xfrm>
                <a:off x="9364738" y="2676049"/>
                <a:ext cx="1940495" cy="646331"/>
              </a:xfrm>
              <a:prstGeom prst="rect">
                <a:avLst/>
              </a:prstGeom>
            </p:spPr>
            <p:txBody>
              <a:bodyPr wrap="square">
                <a:spAutoFit/>
              </a:bodyPr>
              <a:lstStyle/>
              <a:p>
                <a:pPr algn="ctr" defTabSz="566738" fontAlgn="auto">
                  <a:lnSpc>
                    <a:spcPct val="90000"/>
                  </a:lnSpc>
                  <a:spcAft>
                    <a:spcPct val="35000"/>
                  </a:spcAft>
                </a:pPr>
                <a:r>
                  <a:rPr lang="en-US" sz="2000" b="1" dirty="0">
                    <a:solidFill>
                      <a:schemeClr val="accent5"/>
                    </a:solidFill>
                    <a:latin typeface="Arial" panose="020B0604020202020204"/>
                  </a:rPr>
                  <a:t>Mitigation actions</a:t>
                </a:r>
              </a:p>
            </p:txBody>
          </p:sp>
        </p:grpSp>
      </p:grpSp>
      <p:sp>
        <p:nvSpPr>
          <p:cNvPr id="8" name="Title 7">
            <a:extLst>
              <a:ext uri="{FF2B5EF4-FFF2-40B4-BE49-F238E27FC236}">
                <a16:creationId xmlns:a16="http://schemas.microsoft.com/office/drawing/2014/main" id="{8D3907C3-39A6-DFE1-EF76-22003F9123C0}"/>
              </a:ext>
            </a:extLst>
          </p:cNvPr>
          <p:cNvSpPr>
            <a:spLocks noGrp="1"/>
          </p:cNvSpPr>
          <p:nvPr>
            <p:ph type="title"/>
          </p:nvPr>
        </p:nvSpPr>
        <p:spPr/>
        <p:txBody>
          <a:bodyPr/>
          <a:lstStyle/>
          <a:p>
            <a:pPr algn="ctr"/>
            <a:r>
              <a:rPr lang="en-IN" b="0" dirty="0">
                <a:latin typeface="Arial" panose="020B0604020202020204" pitchFamily="34" charset="0"/>
                <a:cs typeface="Arial" panose="020B0604020202020204" pitchFamily="34" charset="0"/>
              </a:rPr>
              <a:t>Action plan</a:t>
            </a:r>
          </a:p>
        </p:txBody>
      </p:sp>
    </p:spTree>
    <p:extLst>
      <p:ext uri="{BB962C8B-B14F-4D97-AF65-F5344CB8AC3E}">
        <p14:creationId xmlns:p14="http://schemas.microsoft.com/office/powerpoint/2010/main" val="619324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1B402AD-3109-7BC9-7243-0545CAB35C52}"/>
              </a:ext>
            </a:extLst>
          </p:cNvPr>
          <p:cNvGrpSpPr/>
          <p:nvPr/>
        </p:nvGrpSpPr>
        <p:grpSpPr>
          <a:xfrm>
            <a:off x="1298941" y="658586"/>
            <a:ext cx="4383402" cy="5540828"/>
            <a:chOff x="7739743" y="1328058"/>
            <a:chExt cx="4383402" cy="5540828"/>
          </a:xfrm>
        </p:grpSpPr>
        <p:sp>
          <p:nvSpPr>
            <p:cNvPr id="4" name="Rectangle: Rounded Corners 3">
              <a:extLst>
                <a:ext uri="{FF2B5EF4-FFF2-40B4-BE49-F238E27FC236}">
                  <a16:creationId xmlns:a16="http://schemas.microsoft.com/office/drawing/2014/main" id="{8F180EE4-7D7F-31E0-2B6D-531166214463}"/>
                </a:ext>
              </a:extLst>
            </p:cNvPr>
            <p:cNvSpPr/>
            <p:nvPr/>
          </p:nvSpPr>
          <p:spPr>
            <a:xfrm>
              <a:off x="7739743" y="1328058"/>
              <a:ext cx="4383402" cy="5540828"/>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Amount of ~Rs 9650 Cr has been released to the identified 131 cities from FY 2019-20 till FY 2023-24 (till 15th Dec) under NCAP. </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Out of ~ Rs 9650 Cr, an amount of Rs 1292.50 Cr has been released to cities which are funded under NCAP, out of which Rs 480.92 Cr has been </a:t>
              </a:r>
              <a:r>
                <a:rPr lang="en-US" sz="1400" dirty="0" err="1">
                  <a:latin typeface="Arial" panose="020B0604020202020204" pitchFamily="34" charset="0"/>
                  <a:cs typeface="Arial" panose="020B0604020202020204" pitchFamily="34" charset="0"/>
                </a:rPr>
                <a:t>utilised</a:t>
              </a:r>
              <a:r>
                <a:rPr lang="en-US" sz="1400" dirty="0">
                  <a:latin typeface="Arial" panose="020B0604020202020204" pitchFamily="34" charset="0"/>
                  <a:cs typeface="Arial" panose="020B0604020202020204" pitchFamily="34" charset="0"/>
                </a:rPr>
                <a:t> (till 15th Dec)</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Rs 8357.51 Cr has been released to the cities that are funded under Fifteenth Finance Commission (XV-FC), out of which Rs5835.03 Cr (till 15th Dec) has been </a:t>
              </a:r>
              <a:r>
                <a:rPr lang="en-US" sz="1400" dirty="0" err="1">
                  <a:latin typeface="Arial" panose="020B0604020202020204" pitchFamily="34" charset="0"/>
                  <a:cs typeface="Arial" panose="020B0604020202020204" pitchFamily="34" charset="0"/>
                </a:rPr>
                <a:t>utilised</a:t>
              </a:r>
              <a:r>
                <a:rPr lang="en-US" sz="1400" dirty="0">
                  <a:latin typeface="Arial" panose="020B0604020202020204" pitchFamily="34" charset="0"/>
                  <a:cs typeface="Arial" panose="020B0604020202020204" pitchFamily="34" charset="0"/>
                </a:rPr>
                <a:t> for improvement in air quality</a:t>
              </a:r>
              <a:r>
                <a:rPr lang="en-US" dirty="0"/>
                <a:t>. </a:t>
              </a:r>
              <a:endParaRPr lang="en-IN" dirty="0"/>
            </a:p>
          </p:txBody>
        </p:sp>
        <p:sp>
          <p:nvSpPr>
            <p:cNvPr id="5" name="TextBox 4">
              <a:extLst>
                <a:ext uri="{FF2B5EF4-FFF2-40B4-BE49-F238E27FC236}">
                  <a16:creationId xmlns:a16="http://schemas.microsoft.com/office/drawing/2014/main" id="{BA9DF8CE-16F9-03C4-5924-F975853F6403}"/>
                </a:ext>
              </a:extLst>
            </p:cNvPr>
            <p:cNvSpPr txBox="1"/>
            <p:nvPr/>
          </p:nvSpPr>
          <p:spPr>
            <a:xfrm>
              <a:off x="8229600" y="2068286"/>
              <a:ext cx="2699657" cy="369332"/>
            </a:xfrm>
            <a:prstGeom prst="rect">
              <a:avLst/>
            </a:prstGeom>
            <a:noFill/>
          </p:spPr>
          <p:txBody>
            <a:bodyPr wrap="square" rtlCol="0">
              <a:spAutoFit/>
            </a:bodyPr>
            <a:lstStyle/>
            <a:p>
              <a:pPr algn="ctr"/>
              <a:r>
                <a:rPr lang="en-IN" b="1" dirty="0">
                  <a:solidFill>
                    <a:schemeClr val="accent6"/>
                  </a:solidFill>
                  <a:latin typeface="Arial" panose="020B0604020202020204" pitchFamily="34" charset="0"/>
                  <a:cs typeface="Arial" panose="020B0604020202020204" pitchFamily="34" charset="0"/>
                </a:rPr>
                <a:t>Budget allocation</a:t>
              </a:r>
            </a:p>
          </p:txBody>
        </p:sp>
      </p:grpSp>
      <p:grpSp>
        <p:nvGrpSpPr>
          <p:cNvPr id="10" name="Group 9">
            <a:extLst>
              <a:ext uri="{FF2B5EF4-FFF2-40B4-BE49-F238E27FC236}">
                <a16:creationId xmlns:a16="http://schemas.microsoft.com/office/drawing/2014/main" id="{C9656286-E798-5A79-7273-D4DC2F43605B}"/>
              </a:ext>
            </a:extLst>
          </p:cNvPr>
          <p:cNvGrpSpPr/>
          <p:nvPr/>
        </p:nvGrpSpPr>
        <p:grpSpPr>
          <a:xfrm>
            <a:off x="6716486" y="658586"/>
            <a:ext cx="4568459" cy="5540828"/>
            <a:chOff x="5729267" y="1099454"/>
            <a:chExt cx="5399315" cy="5225144"/>
          </a:xfrm>
        </p:grpSpPr>
        <p:grpSp>
          <p:nvGrpSpPr>
            <p:cNvPr id="6" name="Group 5">
              <a:extLst>
                <a:ext uri="{FF2B5EF4-FFF2-40B4-BE49-F238E27FC236}">
                  <a16:creationId xmlns:a16="http://schemas.microsoft.com/office/drawing/2014/main" id="{0C59E56A-72BA-726B-23E9-F929E918943E}"/>
                </a:ext>
              </a:extLst>
            </p:cNvPr>
            <p:cNvGrpSpPr/>
            <p:nvPr/>
          </p:nvGrpSpPr>
          <p:grpSpPr>
            <a:xfrm>
              <a:off x="5729267" y="1099454"/>
              <a:ext cx="5399315" cy="5225144"/>
              <a:chOff x="7627795" y="1643742"/>
              <a:chExt cx="3614058" cy="4746171"/>
            </a:xfrm>
          </p:grpSpPr>
          <p:sp>
            <p:nvSpPr>
              <p:cNvPr id="7" name="Rectangle: Rounded Corners 6">
                <a:extLst>
                  <a:ext uri="{FF2B5EF4-FFF2-40B4-BE49-F238E27FC236}">
                    <a16:creationId xmlns:a16="http://schemas.microsoft.com/office/drawing/2014/main" id="{65F3B418-C9E6-4E43-AA32-97A6BD2328DC}"/>
                  </a:ext>
                </a:extLst>
              </p:cNvPr>
              <p:cNvSpPr/>
              <p:nvPr/>
            </p:nvSpPr>
            <p:spPr>
              <a:xfrm>
                <a:off x="7627795" y="1643742"/>
                <a:ext cx="3614058" cy="4746171"/>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IN"/>
              </a:p>
            </p:txBody>
          </p:sp>
          <p:sp>
            <p:nvSpPr>
              <p:cNvPr id="8" name="TextBox 7">
                <a:extLst>
                  <a:ext uri="{FF2B5EF4-FFF2-40B4-BE49-F238E27FC236}">
                    <a16:creationId xmlns:a16="http://schemas.microsoft.com/office/drawing/2014/main" id="{048F8921-11E4-3A63-DB58-2C88F2576A4F}"/>
                  </a:ext>
                </a:extLst>
              </p:cNvPr>
              <p:cNvSpPr txBox="1"/>
              <p:nvPr/>
            </p:nvSpPr>
            <p:spPr>
              <a:xfrm>
                <a:off x="7919358" y="1984215"/>
                <a:ext cx="3254828" cy="646331"/>
              </a:xfrm>
              <a:prstGeom prst="rect">
                <a:avLst/>
              </a:prstGeom>
              <a:noFill/>
            </p:spPr>
            <p:txBody>
              <a:bodyPr wrap="square" rtlCol="0">
                <a:spAutoFit/>
              </a:bodyPr>
              <a:lstStyle/>
              <a:p>
                <a:pPr algn="ctr"/>
                <a:r>
                  <a:rPr lang="en-IN" b="1" dirty="0">
                    <a:solidFill>
                      <a:schemeClr val="accent6"/>
                    </a:solidFill>
                    <a:latin typeface="Arial" panose="020B0604020202020204" pitchFamily="34" charset="0"/>
                    <a:cs typeface="Arial" panose="020B0604020202020204" pitchFamily="34" charset="0"/>
                  </a:rPr>
                  <a:t>Pre-requisites to release funds</a:t>
                </a:r>
              </a:p>
            </p:txBody>
          </p:sp>
        </p:grpSp>
        <p:sp>
          <p:nvSpPr>
            <p:cNvPr id="9" name="TextBox 8">
              <a:extLst>
                <a:ext uri="{FF2B5EF4-FFF2-40B4-BE49-F238E27FC236}">
                  <a16:creationId xmlns:a16="http://schemas.microsoft.com/office/drawing/2014/main" id="{BE4BE496-C0B4-299E-E8BB-541E205DA2A5}"/>
                </a:ext>
              </a:extLst>
            </p:cNvPr>
            <p:cNvSpPr txBox="1"/>
            <p:nvPr/>
          </p:nvSpPr>
          <p:spPr>
            <a:xfrm>
              <a:off x="6096000" y="1915886"/>
              <a:ext cx="5000346" cy="4031873"/>
            </a:xfrm>
            <a:prstGeom prst="rect">
              <a:avLst/>
            </a:prstGeom>
            <a:noFill/>
          </p:spPr>
          <p:txBody>
            <a:bodyPr wrap="square" rtlCol="0">
              <a:spAutoFit/>
            </a:bodyPr>
            <a:lstStyle/>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100% utilisation of funds released during 2019-20 till 2021-22;</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Minimum 75% utilisation of funds released during FY 2022-23; </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Submission of proposals under Nagar Van Yojana </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Submission of proposals under SBM2.0 </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Incorporation of Mission LiFE activities under City Action Plan and Annual Action Plan </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Preparation of Annual Action Plan for FY 2023-24 </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Incorporation of establishment of Automatic Testing Stations (ATS) and Registered Vehicle Scrapping Facilities (RVSF) in State and City Action Plans (1 RVSF each in 52 cities; 1 ATS in 127 cities) </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Utilisation of funds under Swachh Vayu Sarvekshan provided for FY 2022-23 and 2023-24; </a:t>
              </a:r>
            </a:p>
            <a:p>
              <a:pPr marL="285750" indent="-285750">
                <a:buFont typeface="Wingdings" panose="05000000000000000000" pitchFamily="2" charset="2"/>
                <a:buChar char="Ø"/>
              </a:pPr>
              <a:r>
                <a:rPr lang="en-US" sz="1400" dirty="0">
                  <a:latin typeface="Arial" panose="020B0604020202020204" pitchFamily="34" charset="0"/>
                  <a:cs typeface="Arial" panose="020B0604020202020204" pitchFamily="34" charset="0"/>
                </a:rPr>
                <a:t>State-wise report card was presented regarding status of submission Annual Action Plans</a:t>
              </a:r>
            </a:p>
            <a:p>
              <a:endParaRPr lang="en-IN" dirty="0"/>
            </a:p>
          </p:txBody>
        </p:sp>
      </p:grpSp>
    </p:spTree>
    <p:extLst>
      <p:ext uri="{BB962C8B-B14F-4D97-AF65-F5344CB8AC3E}">
        <p14:creationId xmlns:p14="http://schemas.microsoft.com/office/powerpoint/2010/main" val="420166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DC2219-619D-E6FF-40E9-0BBB983C17AA}"/>
              </a:ext>
            </a:extLst>
          </p:cNvPr>
          <p:cNvPicPr>
            <a:picLocks noChangeAspect="1"/>
          </p:cNvPicPr>
          <p:nvPr/>
        </p:nvPicPr>
        <p:blipFill>
          <a:blip r:embed="rId2"/>
          <a:stretch>
            <a:fillRect/>
          </a:stretch>
        </p:blipFill>
        <p:spPr>
          <a:xfrm>
            <a:off x="0" y="3429000"/>
            <a:ext cx="11944964" cy="3429000"/>
          </a:xfrm>
          <a:prstGeom prst="rect">
            <a:avLst/>
          </a:prstGeom>
        </p:spPr>
      </p:pic>
      <p:sp>
        <p:nvSpPr>
          <p:cNvPr id="7" name="TextBox 6">
            <a:extLst>
              <a:ext uri="{FF2B5EF4-FFF2-40B4-BE49-F238E27FC236}">
                <a16:creationId xmlns:a16="http://schemas.microsoft.com/office/drawing/2014/main" id="{8F09173E-B270-1425-9DE6-C1EC5D11774B}"/>
              </a:ext>
            </a:extLst>
          </p:cNvPr>
          <p:cNvSpPr txBox="1"/>
          <p:nvPr/>
        </p:nvSpPr>
        <p:spPr>
          <a:xfrm>
            <a:off x="250371" y="1545771"/>
            <a:ext cx="11615058" cy="1754326"/>
          </a:xfrm>
          <a:prstGeom prst="rect">
            <a:avLst/>
          </a:prstGeom>
          <a:noFill/>
        </p:spPr>
        <p:txBody>
          <a:bodyPr wrap="square" rtlCol="0">
            <a:spAutoFit/>
          </a:bodyPr>
          <a:lstStyle/>
          <a:p>
            <a:pPr marL="285750" indent="-285750" algn="just">
              <a:buFont typeface="Wingdings" panose="05000000000000000000" pitchFamily="2" charset="2"/>
              <a:buChar char="Ø"/>
            </a:pPr>
            <a:r>
              <a:rPr lang="en-US" dirty="0">
                <a:latin typeface="Arial" panose="020B0604020202020204" pitchFamily="34" charset="0"/>
                <a:cs typeface="Arial" panose="020B0604020202020204" pitchFamily="34" charset="0"/>
              </a:rPr>
              <a:t>The PRANA (Portal for Regulation of Air-pollution in Non-Attainment cities) portal has been instrumental in combating Delhi's air pollution crisis.</a:t>
            </a:r>
          </a:p>
          <a:p>
            <a:pPr marL="285750" indent="-285750" algn="just">
              <a:buFont typeface="Wingdings" panose="05000000000000000000" pitchFamily="2" charset="2"/>
              <a:buChar char="Ø"/>
            </a:pPr>
            <a:r>
              <a:rPr lang="en-US" dirty="0">
                <a:latin typeface="Arial" panose="020B0604020202020204" pitchFamily="34" charset="0"/>
                <a:cs typeface="Arial" panose="020B0604020202020204" pitchFamily="34" charset="0"/>
              </a:rPr>
              <a:t> It facilitates tracking the implementation of the National Clean Air Programme (NCAP) and city-specific action plans, ensuring transparency and accountability. </a:t>
            </a:r>
          </a:p>
          <a:p>
            <a:pPr marL="285750" indent="-285750" algn="just">
              <a:buFont typeface="Wingdings" panose="05000000000000000000" pitchFamily="2" charset="2"/>
              <a:buChar char="Ø"/>
            </a:pPr>
            <a:r>
              <a:rPr lang="en-US" dirty="0">
                <a:latin typeface="Arial" panose="020B0604020202020204" pitchFamily="34" charset="0"/>
                <a:cs typeface="Arial" panose="020B0604020202020204" pitchFamily="34" charset="0"/>
              </a:rPr>
              <a:t>The portal enables real-time data collection and analysis of pollution sources, aiding in formulating effective policies. </a:t>
            </a:r>
            <a:endParaRPr lang="en-IN"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6FE71789-D914-7B7E-FDB2-A8C683E3924B}"/>
              </a:ext>
            </a:extLst>
          </p:cNvPr>
          <p:cNvSpPr txBox="1"/>
          <p:nvPr/>
        </p:nvSpPr>
        <p:spPr>
          <a:xfrm>
            <a:off x="2492828" y="927322"/>
            <a:ext cx="7130143" cy="461665"/>
          </a:xfrm>
          <a:prstGeom prst="rect">
            <a:avLst/>
          </a:prstGeom>
          <a:noFill/>
        </p:spPr>
        <p:txBody>
          <a:bodyPr wrap="square" rtlCol="0">
            <a:spAutoFit/>
          </a:bodyPr>
          <a:lstStyle/>
          <a:p>
            <a:pPr algn="ctr"/>
            <a:r>
              <a:rPr lang="en-IN" sz="2400" b="1" dirty="0">
                <a:latin typeface="Arial" panose="020B0604020202020204" pitchFamily="34" charset="0"/>
                <a:cs typeface="Arial" panose="020B0604020202020204" pitchFamily="34" charset="0"/>
              </a:rPr>
              <a:t>Monitoring of NCAP</a:t>
            </a:r>
          </a:p>
        </p:txBody>
      </p:sp>
    </p:spTree>
    <p:extLst>
      <p:ext uri="{BB962C8B-B14F-4D97-AF65-F5344CB8AC3E}">
        <p14:creationId xmlns:p14="http://schemas.microsoft.com/office/powerpoint/2010/main" val="529271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3DF5091-A376-4DC7-8600-23F5D7FD68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C3DF5091-A376-4DC7-8600-23F5D7FD68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2FCC88CC-0E74-4308-B8CD-BD03BC4A50E8}"/>
              </a:ext>
            </a:extLst>
          </p:cNvPr>
          <p:cNvSpPr>
            <a:spLocks noGrp="1"/>
          </p:cNvSpPr>
          <p:nvPr>
            <p:ph type="title"/>
          </p:nvPr>
        </p:nvSpPr>
        <p:spPr/>
        <p:txBody>
          <a:bodyPr/>
          <a:lstStyle/>
          <a:p>
            <a:pPr algn="ctr"/>
            <a:r>
              <a:rPr lang="en-US" b="0" dirty="0">
                <a:latin typeface="Arial" panose="020B0604020202020204" pitchFamily="34" charset="0"/>
                <a:cs typeface="Arial" panose="020B0604020202020204" pitchFamily="34" charset="0"/>
              </a:rPr>
              <a:t>Factors causing hinderance in achieving targets </a:t>
            </a:r>
          </a:p>
        </p:txBody>
      </p:sp>
      <p:grpSp>
        <p:nvGrpSpPr>
          <p:cNvPr id="4" name="Group 3">
            <a:extLst>
              <a:ext uri="{FF2B5EF4-FFF2-40B4-BE49-F238E27FC236}">
                <a16:creationId xmlns:a16="http://schemas.microsoft.com/office/drawing/2014/main" id="{D8907E5F-8C09-B437-456A-84CD680850E2}"/>
              </a:ext>
            </a:extLst>
          </p:cNvPr>
          <p:cNvGrpSpPr/>
          <p:nvPr/>
        </p:nvGrpSpPr>
        <p:grpSpPr>
          <a:xfrm>
            <a:off x="591521" y="1216702"/>
            <a:ext cx="6495079" cy="5249411"/>
            <a:chOff x="384694" y="1706563"/>
            <a:chExt cx="3657600" cy="4572000"/>
          </a:xfrm>
        </p:grpSpPr>
        <p:sp>
          <p:nvSpPr>
            <p:cNvPr id="10" name="Rectangle: Top Corners Rounded 9">
              <a:extLst>
                <a:ext uri="{FF2B5EF4-FFF2-40B4-BE49-F238E27FC236}">
                  <a16:creationId xmlns:a16="http://schemas.microsoft.com/office/drawing/2014/main" id="{B2D74BD5-3EC1-45ED-9079-709035ACC1A5}"/>
                </a:ext>
              </a:extLst>
            </p:cNvPr>
            <p:cNvSpPr/>
            <p:nvPr/>
          </p:nvSpPr>
          <p:spPr>
            <a:xfrm>
              <a:off x="384694" y="1706563"/>
              <a:ext cx="3657600" cy="1737890"/>
            </a:xfrm>
            <a:prstGeom prst="round2SameRect">
              <a:avLst>
                <a:gd name="adj1" fmla="val 16667"/>
                <a:gd name="adj2" fmla="val 70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7" name="Rectangle: Rounded Corners 6">
              <a:extLst>
                <a:ext uri="{FF2B5EF4-FFF2-40B4-BE49-F238E27FC236}">
                  <a16:creationId xmlns:a16="http://schemas.microsoft.com/office/drawing/2014/main" id="{05D1FA40-1F33-44C3-B8B9-DB801A999095}"/>
                </a:ext>
              </a:extLst>
            </p:cNvPr>
            <p:cNvSpPr/>
            <p:nvPr/>
          </p:nvSpPr>
          <p:spPr>
            <a:xfrm>
              <a:off x="521854" y="1835715"/>
              <a:ext cx="3383280" cy="4442848"/>
            </a:xfrm>
            <a:prstGeom prst="roundRect">
              <a:avLst>
                <a:gd name="adj" fmla="val 4900"/>
              </a:avLst>
            </a:prstGeom>
            <a:solidFill>
              <a:schemeClr val="bg1"/>
            </a:solidFill>
            <a:ln w="19050" cap="rnd">
              <a:solidFill>
                <a:srgbClr val="CACED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b="1" dirty="0">
                  <a:solidFill>
                    <a:schemeClr val="accent1"/>
                  </a:solidFill>
                </a:rPr>
                <a:t>Geographic and meteorological conditions</a:t>
              </a:r>
            </a:p>
            <a:p>
              <a:pPr marL="171450" indent="-171450">
                <a:lnSpc>
                  <a:spcPct val="150000"/>
                </a:lnSpc>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Delhi's geographical location in the Indo-Gangetic Plain, surrounded by the Himalayas to the north, the Aravalli hills to the south, and the Thar Desert to the west, creates a "bowl" effect that traps pollutants, preventing their natural dispersal and causing them to accumulate.</a:t>
              </a:r>
            </a:p>
            <a:p>
              <a:pPr marL="171450" indent="-171450">
                <a:lnSpc>
                  <a:spcPct val="150000"/>
                </a:lnSpc>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 This issue is exacerbated by north-westerly winds from Rajasthan, Pakistan, and Afghanistan that carry dust and pollutants into the region, where they are trapped by the Himalayas. </a:t>
              </a:r>
            </a:p>
            <a:p>
              <a:pPr marL="171450" indent="-171450">
                <a:lnSpc>
                  <a:spcPct val="150000"/>
                </a:lnSpc>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he situation worsens in winter when cold air settles over northern India, preventing warm air from rising and dispersing pollutants, thereby trapping pollution near the surface and increasing its impact on human health. </a:t>
              </a:r>
            </a:p>
            <a:p>
              <a:pPr marL="171450" indent="-171450">
                <a:lnSpc>
                  <a:spcPct val="150000"/>
                </a:lnSpc>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Seasonal variations also affect pollution sources: during winter, the contribution from vehicles, biomass burning, municipal solid waste burning, firecrackers, stubble burning, construction activities, and secondary particles increases, while in summer, road dust, fly ash, and biomass burning are more influential. </a:t>
              </a:r>
            </a:p>
            <a:p>
              <a:pPr marL="171450" indent="-171450">
                <a:lnSpc>
                  <a:spcPct val="150000"/>
                </a:lnSpc>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he Indo-Gangetic Plain's geographical disadvantages, compounded by its landlocked nature and dry alluvial soil, contribute significantly to wind-blown dust and air pollution, creating a persistent and severe air quality challenge for Delhi.</a:t>
              </a:r>
            </a:p>
          </p:txBody>
        </p:sp>
        <p:sp>
          <p:nvSpPr>
            <p:cNvPr id="16" name="Rounded Rectangle 69">
              <a:extLst>
                <a:ext uri="{FF2B5EF4-FFF2-40B4-BE49-F238E27FC236}">
                  <a16:creationId xmlns:a16="http://schemas.microsoft.com/office/drawing/2014/main" id="{67540792-477A-47AA-BFE5-9A53A720F7AD}"/>
                </a:ext>
              </a:extLst>
            </p:cNvPr>
            <p:cNvSpPr>
              <a:spLocks/>
            </p:cNvSpPr>
            <p:nvPr/>
          </p:nvSpPr>
          <p:spPr>
            <a:xfrm>
              <a:off x="521855" y="2623457"/>
              <a:ext cx="3383280" cy="3655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t" anchorCtr="0">
              <a:noAutofit/>
            </a:bodyPr>
            <a:lstStyle/>
            <a:p>
              <a:pPr marL="182880" lvl="0" indent="-182880" fontAlgn="base">
                <a:spcAft>
                  <a:spcPts val="300"/>
                </a:spcAft>
                <a:buFont typeface="Arial" panose="020B0604020202020204" pitchFamily="34" charset="0"/>
                <a:buChar char="•"/>
                <a:defRPr/>
              </a:pPr>
              <a:endParaRPr lang="en-US" sz="1400" dirty="0">
                <a:solidFill>
                  <a:schemeClr val="tx1"/>
                </a:solidFill>
                <a:latin typeface="Arial" panose="020B0604020202020204" pitchFamily="34" charset="0"/>
                <a:cs typeface="Arial" panose="020B0604020202020204" pitchFamily="34" charset="0"/>
              </a:endParaRPr>
            </a:p>
          </p:txBody>
        </p:sp>
      </p:grpSp>
      <p:pic>
        <p:nvPicPr>
          <p:cNvPr id="8" name="Picture 7">
            <a:extLst>
              <a:ext uri="{FF2B5EF4-FFF2-40B4-BE49-F238E27FC236}">
                <a16:creationId xmlns:a16="http://schemas.microsoft.com/office/drawing/2014/main" id="{8AF809FE-EDEC-5E94-7DFB-5F53D53670D3}"/>
              </a:ext>
            </a:extLst>
          </p:cNvPr>
          <p:cNvPicPr>
            <a:picLocks noChangeAspect="1"/>
          </p:cNvPicPr>
          <p:nvPr/>
        </p:nvPicPr>
        <p:blipFill rotWithShape="1">
          <a:blip r:embed="rId5"/>
          <a:srcRect t="658" r="2875"/>
          <a:stretch/>
        </p:blipFill>
        <p:spPr>
          <a:xfrm>
            <a:off x="7452940" y="1850571"/>
            <a:ext cx="4147539" cy="3701144"/>
          </a:xfrm>
          <a:prstGeom prst="rect">
            <a:avLst/>
          </a:prstGeom>
        </p:spPr>
      </p:pic>
    </p:spTree>
    <p:extLst>
      <p:ext uri="{BB962C8B-B14F-4D97-AF65-F5344CB8AC3E}">
        <p14:creationId xmlns:p14="http://schemas.microsoft.com/office/powerpoint/2010/main" val="30325910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891ED1B-73C5-F8BA-9F27-E00023FE2A75}"/>
              </a:ext>
            </a:extLst>
          </p:cNvPr>
          <p:cNvGrpSpPr/>
          <p:nvPr/>
        </p:nvGrpSpPr>
        <p:grpSpPr>
          <a:xfrm>
            <a:off x="828831" y="857477"/>
            <a:ext cx="5582856" cy="5924323"/>
            <a:chOff x="4225174" y="1706563"/>
            <a:chExt cx="3657600" cy="4572000"/>
          </a:xfrm>
        </p:grpSpPr>
        <p:sp>
          <p:nvSpPr>
            <p:cNvPr id="24" name="Rectangle: Top Corners Rounded 23">
              <a:extLst>
                <a:ext uri="{FF2B5EF4-FFF2-40B4-BE49-F238E27FC236}">
                  <a16:creationId xmlns:a16="http://schemas.microsoft.com/office/drawing/2014/main" id="{7109C86C-3530-4F60-9076-A3C7796C0506}"/>
                </a:ext>
              </a:extLst>
            </p:cNvPr>
            <p:cNvSpPr/>
            <p:nvPr/>
          </p:nvSpPr>
          <p:spPr>
            <a:xfrm>
              <a:off x="4225174" y="1706563"/>
              <a:ext cx="3657600" cy="1737890"/>
            </a:xfrm>
            <a:prstGeom prst="round2SameRect">
              <a:avLst>
                <a:gd name="adj1" fmla="val 16667"/>
                <a:gd name="adj2" fmla="val 709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25" name="Rectangle: Rounded Corners 24">
              <a:extLst>
                <a:ext uri="{FF2B5EF4-FFF2-40B4-BE49-F238E27FC236}">
                  <a16:creationId xmlns:a16="http://schemas.microsoft.com/office/drawing/2014/main" id="{9F361626-3B4F-41ED-AE0D-99CA1C5DEC90}"/>
                </a:ext>
              </a:extLst>
            </p:cNvPr>
            <p:cNvSpPr/>
            <p:nvPr/>
          </p:nvSpPr>
          <p:spPr>
            <a:xfrm>
              <a:off x="4362334" y="1835715"/>
              <a:ext cx="3383280" cy="4442848"/>
            </a:xfrm>
            <a:prstGeom prst="roundRect">
              <a:avLst>
                <a:gd name="adj" fmla="val 4900"/>
              </a:avLst>
            </a:prstGeom>
            <a:solidFill>
              <a:schemeClr val="bg1"/>
            </a:solidFill>
            <a:ln w="19050" cap="rnd">
              <a:solidFill>
                <a:srgbClr val="CACED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b="1" dirty="0">
                  <a:solidFill>
                    <a:schemeClr val="accent2"/>
                  </a:solidFill>
                </a:rPr>
                <a:t>Cross border non- coordination</a:t>
              </a:r>
            </a:p>
          </p:txBody>
        </p:sp>
        <p:sp>
          <p:nvSpPr>
            <p:cNvPr id="26" name="Rounded Rectangle 69">
              <a:extLst>
                <a:ext uri="{FF2B5EF4-FFF2-40B4-BE49-F238E27FC236}">
                  <a16:creationId xmlns:a16="http://schemas.microsoft.com/office/drawing/2014/main" id="{050725C8-BEFC-4A37-BEA9-A9DBFB667ED0}"/>
                </a:ext>
              </a:extLst>
            </p:cNvPr>
            <p:cNvSpPr>
              <a:spLocks/>
            </p:cNvSpPr>
            <p:nvPr/>
          </p:nvSpPr>
          <p:spPr>
            <a:xfrm>
              <a:off x="4362334" y="2229586"/>
              <a:ext cx="3383280" cy="3655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t" anchorCtr="0">
              <a:noAutofit/>
            </a:bodyPr>
            <a:lstStyle/>
            <a:p>
              <a:pPr marL="182880" lvl="0" indent="-182880" fontAlgn="base">
                <a:lnSpc>
                  <a:spcPct val="150000"/>
                </a:lnSpc>
                <a:spcAft>
                  <a:spcPts val="300"/>
                </a:spcAft>
                <a:buFont typeface="Arial" panose="020B0604020202020204" pitchFamily="34" charset="0"/>
                <a:buChar char="•"/>
                <a:defRPr/>
              </a:pPr>
              <a:r>
                <a:rPr lang="en-US" sz="1400" dirty="0">
                  <a:solidFill>
                    <a:schemeClr val="tx1"/>
                  </a:solidFill>
                  <a:latin typeface="Arial" panose="020B0604020202020204" pitchFamily="34" charset="0"/>
                  <a:cs typeface="Arial" panose="020B0604020202020204" pitchFamily="34" charset="0"/>
                </a:rPr>
                <a:t>This is particularly evident in the case of Delhi, where the issue of stubble burning in the neighboring states of Punjab, Rajasthan, and Uttar Pradesh contributes significantly to the city's air pollution woes.</a:t>
              </a:r>
            </a:p>
            <a:p>
              <a:pPr marL="182880" lvl="0" indent="-182880" fontAlgn="base">
                <a:lnSpc>
                  <a:spcPct val="150000"/>
                </a:lnSpc>
                <a:spcAft>
                  <a:spcPts val="300"/>
                </a:spcAft>
                <a:buFont typeface="Arial" panose="020B0604020202020204" pitchFamily="34" charset="0"/>
                <a:buChar char="•"/>
                <a:defRPr/>
              </a:pPr>
              <a:r>
                <a:rPr lang="en-US" sz="1400" dirty="0">
                  <a:solidFill>
                    <a:schemeClr val="tx1"/>
                  </a:solidFill>
                  <a:latin typeface="Arial" panose="020B0604020202020204" pitchFamily="34" charset="0"/>
                  <a:cs typeface="Arial" panose="020B0604020202020204" pitchFamily="34" charset="0"/>
                </a:rPr>
                <a:t>The inconsistent implementation of the program across different cities and states further exacerbates this problem, leading to disparities in air quality improvement efforts. While some cities have effectively utilized their allocated funds, others have fallen behind, creating a patchwork of progress that ultimately undermines the overall goals of the program.</a:t>
              </a:r>
            </a:p>
            <a:p>
              <a:pPr marL="182880" lvl="0" indent="-182880" fontAlgn="base">
                <a:lnSpc>
                  <a:spcPct val="150000"/>
                </a:lnSpc>
                <a:spcAft>
                  <a:spcPts val="300"/>
                </a:spcAft>
                <a:buFont typeface="Arial" panose="020B0604020202020204" pitchFamily="34" charset="0"/>
                <a:buChar char="•"/>
                <a:defRPr/>
              </a:pPr>
              <a:r>
                <a:rPr lang="en-US" sz="1400" dirty="0">
                  <a:solidFill>
                    <a:schemeClr val="tx1"/>
                  </a:solidFill>
                  <a:latin typeface="Arial" panose="020B0604020202020204" pitchFamily="34" charset="0"/>
                  <a:cs typeface="Arial" panose="020B0604020202020204" pitchFamily="34" charset="0"/>
                </a:rPr>
                <a:t>Moreover, the absence of a legal mandate for implementing clean air plans hinders accountability and enforcement. Without a clear legal framework, the implementation of NCAP plans is often delayed or incomplete, further compounding the challenges posed by regional non-coordination. </a:t>
              </a:r>
            </a:p>
          </p:txBody>
        </p:sp>
      </p:grpSp>
      <p:pic>
        <p:nvPicPr>
          <p:cNvPr id="5" name="Picture 4">
            <a:extLst>
              <a:ext uri="{FF2B5EF4-FFF2-40B4-BE49-F238E27FC236}">
                <a16:creationId xmlns:a16="http://schemas.microsoft.com/office/drawing/2014/main" id="{CEB8F281-4D11-A8CC-3C7B-39C33FBDE03E}"/>
              </a:ext>
            </a:extLst>
          </p:cNvPr>
          <p:cNvPicPr>
            <a:picLocks noChangeAspect="1"/>
          </p:cNvPicPr>
          <p:nvPr/>
        </p:nvPicPr>
        <p:blipFill>
          <a:blip r:embed="rId2"/>
          <a:stretch>
            <a:fillRect/>
          </a:stretch>
        </p:blipFill>
        <p:spPr>
          <a:xfrm>
            <a:off x="6999514" y="1024830"/>
            <a:ext cx="4667448" cy="5382081"/>
          </a:xfrm>
          <a:prstGeom prst="rect">
            <a:avLst/>
          </a:prstGeom>
        </p:spPr>
      </p:pic>
    </p:spTree>
    <p:extLst>
      <p:ext uri="{BB962C8B-B14F-4D97-AF65-F5344CB8AC3E}">
        <p14:creationId xmlns:p14="http://schemas.microsoft.com/office/powerpoint/2010/main" val="91221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21EC77B-4CE7-A28D-4BAA-87BEECD735D4}"/>
              </a:ext>
            </a:extLst>
          </p:cNvPr>
          <p:cNvGrpSpPr/>
          <p:nvPr/>
        </p:nvGrpSpPr>
        <p:grpSpPr>
          <a:xfrm>
            <a:off x="641595" y="1132113"/>
            <a:ext cx="6259947" cy="5442858"/>
            <a:chOff x="8065654" y="1706563"/>
            <a:chExt cx="3657600" cy="4572000"/>
          </a:xfrm>
        </p:grpSpPr>
        <p:sp>
          <p:nvSpPr>
            <p:cNvPr id="5" name="Rectangle: Top Corners Rounded 4">
              <a:extLst>
                <a:ext uri="{FF2B5EF4-FFF2-40B4-BE49-F238E27FC236}">
                  <a16:creationId xmlns:a16="http://schemas.microsoft.com/office/drawing/2014/main" id="{61B18BE4-7455-FEF5-9DF5-0B933FE78431}"/>
                </a:ext>
              </a:extLst>
            </p:cNvPr>
            <p:cNvSpPr/>
            <p:nvPr/>
          </p:nvSpPr>
          <p:spPr>
            <a:xfrm>
              <a:off x="8065654" y="1706563"/>
              <a:ext cx="3657600" cy="1737890"/>
            </a:xfrm>
            <a:prstGeom prst="round2SameRect">
              <a:avLst>
                <a:gd name="adj1" fmla="val 16667"/>
                <a:gd name="adj2" fmla="val 709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6" name="Rectangle: Rounded Corners 5">
              <a:extLst>
                <a:ext uri="{FF2B5EF4-FFF2-40B4-BE49-F238E27FC236}">
                  <a16:creationId xmlns:a16="http://schemas.microsoft.com/office/drawing/2014/main" id="{351258C3-49D0-0E44-7C77-9A41B1FA5D72}"/>
                </a:ext>
              </a:extLst>
            </p:cNvPr>
            <p:cNvSpPr/>
            <p:nvPr/>
          </p:nvSpPr>
          <p:spPr>
            <a:xfrm>
              <a:off x="8202814" y="1835715"/>
              <a:ext cx="3383280" cy="4442848"/>
            </a:xfrm>
            <a:prstGeom prst="roundRect">
              <a:avLst>
                <a:gd name="adj" fmla="val 4900"/>
              </a:avLst>
            </a:prstGeom>
            <a:solidFill>
              <a:schemeClr val="bg1"/>
            </a:solidFill>
            <a:ln w="19050" cap="rnd">
              <a:solidFill>
                <a:srgbClr val="CACED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b="1" dirty="0">
                  <a:solidFill>
                    <a:schemeClr val="accent5"/>
                  </a:solidFill>
                </a:rPr>
                <a:t>Underutilization of allocated funds</a:t>
              </a:r>
            </a:p>
          </p:txBody>
        </p:sp>
        <p:sp>
          <p:nvSpPr>
            <p:cNvPr id="7" name="Rounded Rectangle 69">
              <a:extLst>
                <a:ext uri="{FF2B5EF4-FFF2-40B4-BE49-F238E27FC236}">
                  <a16:creationId xmlns:a16="http://schemas.microsoft.com/office/drawing/2014/main" id="{80F0BECF-0553-7C29-E989-9687031005CC}"/>
                </a:ext>
              </a:extLst>
            </p:cNvPr>
            <p:cNvSpPr>
              <a:spLocks/>
            </p:cNvSpPr>
            <p:nvPr/>
          </p:nvSpPr>
          <p:spPr>
            <a:xfrm>
              <a:off x="8202815" y="2623457"/>
              <a:ext cx="3383280" cy="3655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bIns="45720" rtlCol="0" anchor="t" anchorCtr="0">
              <a:noAutofit/>
            </a:bodyPr>
            <a:lstStyle/>
            <a:p>
              <a:pPr marL="182880" lvl="0" indent="-182880" fontAlgn="base">
                <a:spcAft>
                  <a:spcPts val="300"/>
                </a:spcAft>
                <a:buFont typeface="Arial" panose="020B0604020202020204" pitchFamily="34" charset="0"/>
                <a:buChar char="•"/>
                <a:defRPr/>
              </a:pPr>
              <a:r>
                <a:rPr lang="en-US" sz="1400" dirty="0">
                  <a:solidFill>
                    <a:schemeClr val="tx1"/>
                  </a:solidFill>
                  <a:latin typeface="Arial" panose="020B0604020202020204" pitchFamily="34" charset="0"/>
                  <a:cs typeface="Arial" panose="020B0604020202020204" pitchFamily="34" charset="0"/>
                </a:rPr>
                <a:t>According to the press release by government of India, despite being allocated ₹38.21 crore, Delhi has only utilized 28%, amounting to ₹10.77 crore. </a:t>
              </a:r>
            </a:p>
            <a:p>
              <a:pPr marL="182880" lvl="0" indent="-182880" fontAlgn="base">
                <a:spcAft>
                  <a:spcPts val="300"/>
                </a:spcAft>
                <a:buFont typeface="Arial" panose="020B0604020202020204" pitchFamily="34" charset="0"/>
                <a:buChar char="•"/>
                <a:defRPr/>
              </a:pPr>
              <a:r>
                <a:rPr lang="en-US" sz="1400" dirty="0">
                  <a:solidFill>
                    <a:schemeClr val="tx1"/>
                  </a:solidFill>
                  <a:latin typeface="Arial" panose="020B0604020202020204" pitchFamily="34" charset="0"/>
                  <a:cs typeface="Arial" panose="020B0604020202020204" pitchFamily="34" charset="0"/>
                </a:rPr>
                <a:t>Specifically, the city has spent just 23.32% of funds earmarked for air quality monitoring, a critical component of NCAP. </a:t>
              </a:r>
            </a:p>
            <a:p>
              <a:pPr marL="182880" lvl="0" indent="-182880" fontAlgn="base">
                <a:spcAft>
                  <a:spcPts val="300"/>
                </a:spcAft>
                <a:buFont typeface="Arial" panose="020B0604020202020204" pitchFamily="34" charset="0"/>
                <a:buChar char="•"/>
                <a:defRPr/>
              </a:pPr>
              <a:r>
                <a:rPr lang="en-US" sz="1400" dirty="0">
                  <a:solidFill>
                    <a:schemeClr val="tx1"/>
                  </a:solidFill>
                  <a:latin typeface="Arial" panose="020B0604020202020204" pitchFamily="34" charset="0"/>
                  <a:cs typeface="Arial" panose="020B0604020202020204" pitchFamily="34" charset="0"/>
                </a:rPr>
                <a:t>This financial inefficiency directly impacts Delhi's ability to meet its air quality goals, as evidenced by its high annual average PM2.5 concentration of 102 µg/m3 in 2023, the highest among 92 cities in India. </a:t>
              </a:r>
            </a:p>
            <a:p>
              <a:pPr marL="182880" lvl="0" indent="-182880" fontAlgn="base">
                <a:spcAft>
                  <a:spcPts val="300"/>
                </a:spcAft>
                <a:buFont typeface="Arial" panose="020B0604020202020204" pitchFamily="34" charset="0"/>
                <a:buChar char="•"/>
                <a:defRPr/>
              </a:pPr>
              <a:r>
                <a:rPr lang="en-US" sz="1400" dirty="0">
                  <a:solidFill>
                    <a:schemeClr val="tx1"/>
                  </a:solidFill>
                  <a:latin typeface="Arial" panose="020B0604020202020204" pitchFamily="34" charset="0"/>
                  <a:cs typeface="Arial" panose="020B0604020202020204" pitchFamily="34" charset="0"/>
                </a:rPr>
                <a:t>In contrast, other cities like Mumbai and Kolkata have effectively utilized 72.48% and 93% of their NCAP funds, respectively. </a:t>
              </a:r>
            </a:p>
            <a:p>
              <a:pPr marL="182880" lvl="0" indent="-182880" fontAlgn="base">
                <a:spcAft>
                  <a:spcPts val="300"/>
                </a:spcAft>
                <a:buFont typeface="Arial" panose="020B0604020202020204" pitchFamily="34" charset="0"/>
                <a:buChar char="•"/>
                <a:defRPr/>
              </a:pPr>
              <a:r>
                <a:rPr lang="en-US" sz="1400" dirty="0">
                  <a:solidFill>
                    <a:schemeClr val="tx1"/>
                  </a:solidFill>
                  <a:latin typeface="Arial" panose="020B0604020202020204" pitchFamily="34" charset="0"/>
                  <a:cs typeface="Arial" panose="020B0604020202020204" pitchFamily="34" charset="0"/>
                </a:rPr>
                <a:t>The underutilization in Delhi is attributed to bureaucratic delays and inefficiencies, such as issues with tendering processes, procurement, and lack of standard operating procedures. This financial mismanagement not only hampers progress towards cleaner air but also endangers public health, exposing residents to severe pollution-related health risks, especially those with pre-existing respiratory conditions.</a:t>
              </a:r>
            </a:p>
          </p:txBody>
        </p:sp>
      </p:grpSp>
      <p:pic>
        <p:nvPicPr>
          <p:cNvPr id="8" name="Picture 7">
            <a:extLst>
              <a:ext uri="{FF2B5EF4-FFF2-40B4-BE49-F238E27FC236}">
                <a16:creationId xmlns:a16="http://schemas.microsoft.com/office/drawing/2014/main" id="{095A68D6-FA4C-37AB-325B-A9F18C04DCC9}"/>
              </a:ext>
            </a:extLst>
          </p:cNvPr>
          <p:cNvPicPr>
            <a:picLocks noChangeAspect="1"/>
          </p:cNvPicPr>
          <p:nvPr/>
        </p:nvPicPr>
        <p:blipFill>
          <a:blip r:embed="rId2"/>
          <a:stretch>
            <a:fillRect/>
          </a:stretch>
        </p:blipFill>
        <p:spPr>
          <a:xfrm>
            <a:off x="7740525" y="652902"/>
            <a:ext cx="3809880" cy="2481162"/>
          </a:xfrm>
          <a:prstGeom prst="rect">
            <a:avLst/>
          </a:prstGeom>
        </p:spPr>
      </p:pic>
      <p:pic>
        <p:nvPicPr>
          <p:cNvPr id="3" name="Picture 2">
            <a:extLst>
              <a:ext uri="{FF2B5EF4-FFF2-40B4-BE49-F238E27FC236}">
                <a16:creationId xmlns:a16="http://schemas.microsoft.com/office/drawing/2014/main" id="{96C0AC51-D624-BF69-00AF-74DD2E61477E}"/>
              </a:ext>
            </a:extLst>
          </p:cNvPr>
          <p:cNvPicPr>
            <a:picLocks noChangeAspect="1"/>
          </p:cNvPicPr>
          <p:nvPr/>
        </p:nvPicPr>
        <p:blipFill>
          <a:blip r:embed="rId3"/>
          <a:stretch>
            <a:fillRect/>
          </a:stretch>
        </p:blipFill>
        <p:spPr>
          <a:xfrm>
            <a:off x="7353170" y="3596956"/>
            <a:ext cx="4584589" cy="2755631"/>
          </a:xfrm>
          <a:prstGeom prst="rect">
            <a:avLst/>
          </a:prstGeom>
        </p:spPr>
      </p:pic>
    </p:spTree>
    <p:extLst>
      <p:ext uri="{BB962C8B-B14F-4D97-AF65-F5344CB8AC3E}">
        <p14:creationId xmlns:p14="http://schemas.microsoft.com/office/powerpoint/2010/main" val="2830553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80B80-845D-8349-5D64-4988D9790439}"/>
              </a:ext>
            </a:extLst>
          </p:cNvPr>
          <p:cNvSpPr>
            <a:spLocks noGrp="1"/>
          </p:cNvSpPr>
          <p:nvPr>
            <p:ph type="title"/>
          </p:nvPr>
        </p:nvSpPr>
        <p:spPr>
          <a:xfrm>
            <a:off x="936171" y="217714"/>
            <a:ext cx="10515600" cy="1325563"/>
          </a:xfrm>
        </p:spPr>
        <p:txBody>
          <a:bodyPr/>
          <a:lstStyle/>
          <a:p>
            <a:pPr algn="ctr"/>
            <a:r>
              <a:rPr lang="en-IN" dirty="0">
                <a:latin typeface="Arial" panose="020B0604020202020204" pitchFamily="34" charset="0"/>
                <a:cs typeface="Arial" panose="020B0604020202020204" pitchFamily="34" charset="0"/>
              </a:rPr>
              <a:t>Mentor’s approval </a:t>
            </a:r>
          </a:p>
        </p:txBody>
      </p:sp>
      <p:pic>
        <p:nvPicPr>
          <p:cNvPr id="4" name="Picture 3">
            <a:extLst>
              <a:ext uri="{FF2B5EF4-FFF2-40B4-BE49-F238E27FC236}">
                <a16:creationId xmlns:a16="http://schemas.microsoft.com/office/drawing/2014/main" id="{4D758837-623A-DCF9-3E56-2CA1D103906A}"/>
              </a:ext>
            </a:extLst>
          </p:cNvPr>
          <p:cNvPicPr>
            <a:picLocks noChangeAspect="1"/>
          </p:cNvPicPr>
          <p:nvPr/>
        </p:nvPicPr>
        <p:blipFill>
          <a:blip r:embed="rId2"/>
          <a:stretch>
            <a:fillRect/>
          </a:stretch>
        </p:blipFill>
        <p:spPr>
          <a:xfrm>
            <a:off x="1646672" y="1349829"/>
            <a:ext cx="8898657" cy="5290457"/>
          </a:xfrm>
          <a:prstGeom prst="rect">
            <a:avLst/>
          </a:prstGeom>
        </p:spPr>
      </p:pic>
    </p:spTree>
    <p:extLst>
      <p:ext uri="{BB962C8B-B14F-4D97-AF65-F5344CB8AC3E}">
        <p14:creationId xmlns:p14="http://schemas.microsoft.com/office/powerpoint/2010/main" val="374770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52">
            <a:extLst>
              <a:ext uri="{FF2B5EF4-FFF2-40B4-BE49-F238E27FC236}">
                <a16:creationId xmlns:a16="http://schemas.microsoft.com/office/drawing/2014/main" id="{48AC36FF-BA7C-4440-8586-CF4E8150C09A}"/>
              </a:ext>
            </a:extLst>
          </p:cNvPr>
          <p:cNvSpPr>
            <a:spLocks noGrp="1"/>
          </p:cNvSpPr>
          <p:nvPr>
            <p:ph type="title" idx="4294967295"/>
          </p:nvPr>
        </p:nvSpPr>
        <p:spPr>
          <a:xfrm>
            <a:off x="1620207" y="346457"/>
            <a:ext cx="7975388" cy="768263"/>
          </a:xfrm>
        </p:spPr>
        <p:txBody>
          <a:bodyPr>
            <a:normAutofit fontScale="90000"/>
          </a:bodyPr>
          <a:lstStyle/>
          <a:p>
            <a:pPr algn="ctr"/>
            <a:r>
              <a:rPr lang="en-US" sz="3200" dirty="0">
                <a:latin typeface="Arial" panose="020B0604020202020204" pitchFamily="34" charset="0"/>
                <a:cs typeface="Arial" panose="020B0604020202020204" pitchFamily="34" charset="0"/>
              </a:rPr>
              <a:t>Case Study – Beijing’s war against pollution</a:t>
            </a:r>
          </a:p>
        </p:txBody>
      </p:sp>
      <p:grpSp>
        <p:nvGrpSpPr>
          <p:cNvPr id="83" name="Group 82">
            <a:extLst>
              <a:ext uri="{FF2B5EF4-FFF2-40B4-BE49-F238E27FC236}">
                <a16:creationId xmlns:a16="http://schemas.microsoft.com/office/drawing/2014/main" id="{D7152A40-59D3-491D-AD6C-02E19C8CFCE4}"/>
              </a:ext>
            </a:extLst>
          </p:cNvPr>
          <p:cNvGrpSpPr/>
          <p:nvPr/>
        </p:nvGrpSpPr>
        <p:grpSpPr>
          <a:xfrm>
            <a:off x="2489446" y="4421875"/>
            <a:ext cx="381656" cy="937525"/>
            <a:chOff x="542174" y="4421875"/>
            <a:chExt cx="381656" cy="937525"/>
          </a:xfrm>
        </p:grpSpPr>
        <p:cxnSp>
          <p:nvCxnSpPr>
            <p:cNvPr id="84" name="Straight Connector 83">
              <a:extLst>
                <a:ext uri="{FF2B5EF4-FFF2-40B4-BE49-F238E27FC236}">
                  <a16:creationId xmlns:a16="http://schemas.microsoft.com/office/drawing/2014/main" id="{A2578DE5-D1C8-44E1-8E62-4B6232E411F8}"/>
                </a:ext>
              </a:extLst>
            </p:cNvPr>
            <p:cNvCxnSpPr>
              <a:cxnSpLocks/>
            </p:cNvCxnSpPr>
            <p:nvPr/>
          </p:nvCxnSpPr>
          <p:spPr>
            <a:xfrm>
              <a:off x="542174" y="4421875"/>
              <a:ext cx="0" cy="937525"/>
            </a:xfrm>
            <a:prstGeom prst="line">
              <a:avLst/>
            </a:prstGeom>
            <a:ln w="38100" cap="rnd">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34B2CCF-D3EC-4404-8D11-0D5BC89402D3}"/>
                </a:ext>
              </a:extLst>
            </p:cNvPr>
            <p:cNvCxnSpPr>
              <a:cxnSpLocks/>
            </p:cNvCxnSpPr>
            <p:nvPr/>
          </p:nvCxnSpPr>
          <p:spPr>
            <a:xfrm flipH="1">
              <a:off x="542175" y="5359400"/>
              <a:ext cx="381655" cy="0"/>
            </a:xfrm>
            <a:prstGeom prst="line">
              <a:avLst/>
            </a:prstGeom>
            <a:ln w="38100" cap="rnd">
              <a:solidFill>
                <a:schemeClr val="accent4"/>
              </a:solidFill>
              <a:round/>
            </a:ln>
          </p:spPr>
          <p:style>
            <a:lnRef idx="1">
              <a:schemeClr val="accent1"/>
            </a:lnRef>
            <a:fillRef idx="0">
              <a:schemeClr val="accent1"/>
            </a:fillRef>
            <a:effectRef idx="0">
              <a:schemeClr val="accent1"/>
            </a:effectRef>
            <a:fontRef idx="minor">
              <a:schemeClr val="tx1"/>
            </a:fontRef>
          </p:style>
        </p:cxnSp>
      </p:grpSp>
      <p:sp>
        <p:nvSpPr>
          <p:cNvPr id="88" name="Text Placeholder 8">
            <a:extLst>
              <a:ext uri="{FF2B5EF4-FFF2-40B4-BE49-F238E27FC236}">
                <a16:creationId xmlns:a16="http://schemas.microsoft.com/office/drawing/2014/main" id="{579DFEB6-A302-43BD-B46D-0A06619EC047}"/>
              </a:ext>
            </a:extLst>
          </p:cNvPr>
          <p:cNvSpPr txBox="1">
            <a:spLocks/>
          </p:cNvSpPr>
          <p:nvPr/>
        </p:nvSpPr>
        <p:spPr>
          <a:xfrm>
            <a:off x="424869" y="1688399"/>
            <a:ext cx="5671128" cy="1454516"/>
          </a:xfrm>
          <a:prstGeom prst="rect">
            <a:avLst/>
          </a:prstGeom>
        </p:spPr>
        <p:txBody>
          <a:bodyPr>
            <a:normAutofit fontScale="92500"/>
          </a:bodyPr>
          <a:lstStyle>
            <a:lvl1pPr marL="230188" indent="-230188" algn="l" rtl="0" eaLnBrk="1" fontAlgn="base" hangingPunct="1">
              <a:spcBef>
                <a:spcPct val="20000"/>
              </a:spcBef>
              <a:spcAft>
                <a:spcPct val="0"/>
              </a:spcAft>
              <a:buFont typeface="Arial" charset="0"/>
              <a:buChar char="•"/>
              <a:defRPr kern="1200">
                <a:solidFill>
                  <a:srgbClr val="414343"/>
                </a:solidFill>
                <a:latin typeface="+mn-lt"/>
                <a:ea typeface="ＭＳ Ｐゴシック" charset="-128"/>
                <a:cs typeface="+mn-cs"/>
              </a:defRPr>
            </a:lvl1pPr>
            <a:lvl2pPr marL="457200" indent="-234950" algn="l" rtl="0" eaLnBrk="1" fontAlgn="base" hangingPunct="1">
              <a:spcBef>
                <a:spcPct val="20000"/>
              </a:spcBef>
              <a:spcAft>
                <a:spcPct val="0"/>
              </a:spcAft>
              <a:buFont typeface="Lucida Grande" charset="0"/>
              <a:buChar char="&gt;"/>
              <a:defRPr sz="1600" kern="1200">
                <a:solidFill>
                  <a:srgbClr val="414343"/>
                </a:solidFill>
                <a:latin typeface="+mn-lt"/>
                <a:ea typeface="ＭＳ Ｐゴシック" charset="-128"/>
                <a:cs typeface="+mn-cs"/>
              </a:defRPr>
            </a:lvl2pPr>
            <a:lvl3pPr marL="679450" indent="-222250" algn="l" rtl="0" eaLnBrk="1" fontAlgn="base" hangingPunct="1">
              <a:spcBef>
                <a:spcPct val="20000"/>
              </a:spcBef>
              <a:spcAft>
                <a:spcPct val="0"/>
              </a:spcAft>
              <a:buFont typeface="Lucida Grande" charset="0"/>
              <a:buChar char="-"/>
              <a:defRPr sz="1600" kern="1200">
                <a:solidFill>
                  <a:srgbClr val="414343"/>
                </a:solidFill>
                <a:latin typeface="+mn-lt"/>
                <a:ea typeface="ＭＳ Ｐゴシック" charset="-128"/>
                <a:cs typeface="+mn-cs"/>
              </a:defRPr>
            </a:lvl3pPr>
            <a:lvl4pPr marL="914400" indent="-2349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4pPr>
            <a:lvl5pPr marL="1144588" indent="-2222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300"/>
              </a:spcAft>
              <a:tabLst>
                <a:tab pos="4283075" algn="l"/>
              </a:tabLst>
            </a:pPr>
            <a:r>
              <a:rPr lang="en-US" sz="1400" dirty="0">
                <a:latin typeface="Arial" panose="020B0604020202020204" pitchFamily="34" charset="0"/>
                <a:ea typeface="Noto Sans" panose="020B0502040504020204" pitchFamily="34"/>
                <a:cs typeface="Arial" panose="020B0604020202020204" pitchFamily="34" charset="0"/>
              </a:rPr>
              <a:t>China's high population, rapid industrialization, status as the world's largest automobile producer and consumer, and dependency on coal energy have led to alarmingly high levels of air pollution in the country.</a:t>
            </a:r>
          </a:p>
          <a:p>
            <a:pPr>
              <a:spcAft>
                <a:spcPts val="300"/>
              </a:spcAft>
              <a:tabLst>
                <a:tab pos="4283075" algn="l"/>
              </a:tabLst>
            </a:pPr>
            <a:r>
              <a:rPr lang="en-US" sz="1400" b="0" i="0" dirty="0">
                <a:solidFill>
                  <a:srgbClr val="4D5156"/>
                </a:solidFill>
                <a:effectLst/>
                <a:latin typeface="Arial" panose="020B0604020202020204" pitchFamily="34" charset="0"/>
                <a:cs typeface="Arial" panose="020B0604020202020204" pitchFamily="34" charset="0"/>
              </a:rPr>
              <a:t>In capital city  Beijing in 2013, </a:t>
            </a:r>
            <a:r>
              <a:rPr lang="en-US" sz="1400" b="0" i="0" dirty="0">
                <a:solidFill>
                  <a:srgbClr val="040C28"/>
                </a:solidFill>
                <a:effectLst/>
                <a:latin typeface="Arial" panose="020B0604020202020204" pitchFamily="34" charset="0"/>
                <a:cs typeface="Arial" panose="020B0604020202020204" pitchFamily="34" charset="0"/>
              </a:rPr>
              <a:t>the average PM2.</a:t>
            </a:r>
            <a:r>
              <a:rPr lang="en-US" sz="1400" b="0" i="0" dirty="0">
                <a:solidFill>
                  <a:srgbClr val="4D5156"/>
                </a:solidFill>
                <a:effectLst/>
                <a:latin typeface="Arial" panose="020B0604020202020204" pitchFamily="34" charset="0"/>
                <a:cs typeface="Arial" panose="020B0604020202020204" pitchFamily="34" charset="0"/>
              </a:rPr>
              <a:t> </a:t>
            </a:r>
            <a:r>
              <a:rPr lang="en-US" sz="1400" b="0" i="0" dirty="0">
                <a:solidFill>
                  <a:srgbClr val="040C28"/>
                </a:solidFill>
                <a:effectLst/>
                <a:latin typeface="Arial" panose="020B0604020202020204" pitchFamily="34" charset="0"/>
                <a:cs typeface="Arial" panose="020B0604020202020204" pitchFamily="34" charset="0"/>
              </a:rPr>
              <a:t>5 concentration was seventeen times the amount the World Health Organization (WHO) considers safe.</a:t>
            </a:r>
            <a:endParaRPr lang="en-US" sz="1400" dirty="0">
              <a:latin typeface="Arial" panose="020B0604020202020204" pitchFamily="34" charset="0"/>
              <a:ea typeface="Noto Sans" panose="020B0502040504020204" pitchFamily="34"/>
              <a:cs typeface="Arial" panose="020B0604020202020204" pitchFamily="34" charset="0"/>
            </a:endParaRPr>
          </a:p>
          <a:p>
            <a:pPr>
              <a:spcAft>
                <a:spcPts val="300"/>
              </a:spcAft>
              <a:tabLst>
                <a:tab pos="4283075" algn="l"/>
              </a:tabLst>
            </a:pPr>
            <a:endParaRPr lang="en-US" sz="1400" dirty="0">
              <a:latin typeface="Arial" panose="020B0604020202020204" pitchFamily="34" charset="0"/>
              <a:ea typeface="Noto Sans" panose="020B0502040504020204" pitchFamily="34"/>
              <a:cs typeface="Arial" panose="020B0604020202020204" pitchFamily="34" charset="0"/>
            </a:endParaRPr>
          </a:p>
        </p:txBody>
      </p:sp>
      <p:sp>
        <p:nvSpPr>
          <p:cNvPr id="89" name="Text Placeholder 9">
            <a:extLst>
              <a:ext uri="{FF2B5EF4-FFF2-40B4-BE49-F238E27FC236}">
                <a16:creationId xmlns:a16="http://schemas.microsoft.com/office/drawing/2014/main" id="{777E7595-E8A2-4DBE-AD7E-2FFC290D7A61}"/>
              </a:ext>
            </a:extLst>
          </p:cNvPr>
          <p:cNvSpPr txBox="1">
            <a:spLocks/>
          </p:cNvSpPr>
          <p:nvPr/>
        </p:nvSpPr>
        <p:spPr>
          <a:xfrm>
            <a:off x="6439451" y="1717387"/>
            <a:ext cx="5475245" cy="4509242"/>
          </a:xfrm>
          <a:prstGeom prst="rect">
            <a:avLst/>
          </a:prstGeom>
        </p:spPr>
        <p:txBody>
          <a:bodyPr>
            <a:noAutofit/>
          </a:bodyPr>
          <a:lstStyle>
            <a:lvl1pPr marL="230188" indent="-230188" algn="l" rtl="0" eaLnBrk="1" fontAlgn="base" hangingPunct="1">
              <a:spcBef>
                <a:spcPct val="20000"/>
              </a:spcBef>
              <a:spcAft>
                <a:spcPct val="0"/>
              </a:spcAft>
              <a:buFont typeface="Arial" charset="0"/>
              <a:buChar char="•"/>
              <a:defRPr kern="1200">
                <a:solidFill>
                  <a:srgbClr val="414343"/>
                </a:solidFill>
                <a:latin typeface="+mn-lt"/>
                <a:ea typeface="ＭＳ Ｐゴシック" charset="-128"/>
                <a:cs typeface="+mn-cs"/>
              </a:defRPr>
            </a:lvl1pPr>
            <a:lvl2pPr marL="457200" indent="-234950" algn="l" rtl="0" eaLnBrk="1" fontAlgn="base" hangingPunct="1">
              <a:spcBef>
                <a:spcPct val="20000"/>
              </a:spcBef>
              <a:spcAft>
                <a:spcPct val="0"/>
              </a:spcAft>
              <a:buFont typeface="Lucida Grande" charset="0"/>
              <a:buChar char="&gt;"/>
              <a:defRPr sz="1600" kern="1200">
                <a:solidFill>
                  <a:srgbClr val="414343"/>
                </a:solidFill>
                <a:latin typeface="+mn-lt"/>
                <a:ea typeface="ＭＳ Ｐゴシック" charset="-128"/>
                <a:cs typeface="+mn-cs"/>
              </a:defRPr>
            </a:lvl2pPr>
            <a:lvl3pPr marL="679450" indent="-222250" algn="l" rtl="0" eaLnBrk="1" fontAlgn="base" hangingPunct="1">
              <a:spcBef>
                <a:spcPct val="20000"/>
              </a:spcBef>
              <a:spcAft>
                <a:spcPct val="0"/>
              </a:spcAft>
              <a:buFont typeface="Lucida Grande" charset="0"/>
              <a:buChar char="-"/>
              <a:defRPr sz="1600" kern="1200">
                <a:solidFill>
                  <a:srgbClr val="414343"/>
                </a:solidFill>
                <a:latin typeface="+mn-lt"/>
                <a:ea typeface="ＭＳ Ｐゴシック" charset="-128"/>
                <a:cs typeface="+mn-cs"/>
              </a:defRPr>
            </a:lvl3pPr>
            <a:lvl4pPr marL="914400" indent="-2349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4pPr>
            <a:lvl5pPr marL="1144588" indent="-2222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Aft>
                <a:spcPts val="600"/>
              </a:spcAft>
              <a:buFont typeface="+mj-lt"/>
              <a:buAutoNum type="arabicPeriod"/>
            </a:pPr>
            <a:r>
              <a:rPr lang="en-GB" sz="1200" dirty="0">
                <a:solidFill>
                  <a:srgbClr val="000000"/>
                </a:solidFill>
                <a:latin typeface="Arial" panose="020B0604020202020204" pitchFamily="34" charset="0"/>
                <a:cs typeface="Arial" panose="020B0604020202020204" pitchFamily="34" charset="0"/>
              </a:rPr>
              <a:t>Clean air action plan 2013-2017</a:t>
            </a:r>
          </a:p>
          <a:p>
            <a:pPr marL="569912" lvl="1" indent="-342900">
              <a:spcAft>
                <a:spcPts val="600"/>
              </a:spcAft>
            </a:pPr>
            <a:r>
              <a:rPr lang="en-GB" sz="1200" dirty="0">
                <a:solidFill>
                  <a:srgbClr val="000000"/>
                </a:solidFill>
                <a:latin typeface="Arial" panose="020B0604020202020204" pitchFamily="34" charset="0"/>
                <a:cs typeface="Arial" panose="020B0604020202020204" pitchFamily="34" charset="0"/>
              </a:rPr>
              <a:t>Coal combustion reduction</a:t>
            </a:r>
          </a:p>
          <a:p>
            <a:pPr marL="569912" lvl="1" indent="-342900">
              <a:spcAft>
                <a:spcPts val="600"/>
              </a:spcAft>
            </a:pPr>
            <a:r>
              <a:rPr lang="en-GB" sz="1200" dirty="0">
                <a:solidFill>
                  <a:srgbClr val="000000"/>
                </a:solidFill>
                <a:latin typeface="Arial" panose="020B0604020202020204" pitchFamily="34" charset="0"/>
                <a:cs typeface="Arial" panose="020B0604020202020204" pitchFamily="34" charset="0"/>
              </a:rPr>
              <a:t>Industrial restructuring</a:t>
            </a:r>
          </a:p>
          <a:p>
            <a:pPr marL="569912" lvl="1" indent="-342900">
              <a:spcAft>
                <a:spcPts val="600"/>
              </a:spcAft>
            </a:pPr>
            <a:r>
              <a:rPr lang="en-GB" sz="1200" dirty="0">
                <a:solidFill>
                  <a:srgbClr val="000000"/>
                </a:solidFill>
                <a:latin typeface="Arial" panose="020B0604020202020204" pitchFamily="34" charset="0"/>
                <a:cs typeface="Arial" panose="020B0604020202020204" pitchFamily="34" charset="0"/>
              </a:rPr>
              <a:t>Residential sector inventions</a:t>
            </a:r>
          </a:p>
          <a:p>
            <a:pPr marL="569912" lvl="1" indent="-342900">
              <a:spcAft>
                <a:spcPts val="600"/>
              </a:spcAft>
            </a:pPr>
            <a:r>
              <a:rPr lang="en-GB" sz="1200" dirty="0">
                <a:solidFill>
                  <a:srgbClr val="000000"/>
                </a:solidFill>
                <a:latin typeface="Arial" panose="020B0604020202020204" pitchFamily="34" charset="0"/>
                <a:cs typeface="Arial" panose="020B0604020202020204" pitchFamily="34" charset="0"/>
              </a:rPr>
              <a:t>Vehicular emission control</a:t>
            </a:r>
          </a:p>
          <a:p>
            <a:pPr marL="342900" indent="-342900">
              <a:spcAft>
                <a:spcPts val="600"/>
              </a:spcAft>
              <a:buFont typeface="+mj-lt"/>
              <a:buAutoNum type="arabicPeriod"/>
            </a:pPr>
            <a:r>
              <a:rPr lang="en-GB" sz="1200" dirty="0">
                <a:solidFill>
                  <a:srgbClr val="000000"/>
                </a:solidFill>
                <a:latin typeface="Arial" panose="020B0604020202020204" pitchFamily="34" charset="0"/>
                <a:cs typeface="Arial" panose="020B0604020202020204" pitchFamily="34" charset="0"/>
              </a:rPr>
              <a:t>Coordination with surrounding areas – </a:t>
            </a:r>
            <a:r>
              <a:rPr lang="en-GB" sz="1200" dirty="0" err="1">
                <a:solidFill>
                  <a:srgbClr val="000000"/>
                </a:solidFill>
                <a:latin typeface="Arial" panose="020B0604020202020204" pitchFamily="34" charset="0"/>
                <a:cs typeface="Arial" panose="020B0604020202020204" pitchFamily="34" charset="0"/>
              </a:rPr>
              <a:t>Teinjin</a:t>
            </a:r>
            <a:r>
              <a:rPr lang="en-GB" sz="1200" dirty="0">
                <a:solidFill>
                  <a:srgbClr val="000000"/>
                </a:solidFill>
                <a:latin typeface="Arial" panose="020B0604020202020204" pitchFamily="34" charset="0"/>
                <a:cs typeface="Arial" panose="020B0604020202020204" pitchFamily="34" charset="0"/>
              </a:rPr>
              <a:t> and </a:t>
            </a:r>
            <a:r>
              <a:rPr lang="en-GB" sz="1200" dirty="0" err="1">
                <a:solidFill>
                  <a:srgbClr val="000000"/>
                </a:solidFill>
                <a:latin typeface="Arial" panose="020B0604020202020204" pitchFamily="34" charset="0"/>
                <a:cs typeface="Arial" panose="020B0604020202020204" pitchFamily="34" charset="0"/>
              </a:rPr>
              <a:t>Heibei</a:t>
            </a:r>
            <a:endParaRPr lang="en-GB" sz="1200" dirty="0">
              <a:solidFill>
                <a:srgbClr val="000000"/>
              </a:solidFill>
              <a:latin typeface="Arial" panose="020B0604020202020204" pitchFamily="34" charset="0"/>
              <a:cs typeface="Arial" panose="020B0604020202020204" pitchFamily="34" charset="0"/>
            </a:endParaRPr>
          </a:p>
          <a:p>
            <a:pPr marL="569912" lvl="1" indent="-342900">
              <a:spcAft>
                <a:spcPts val="600"/>
              </a:spcAft>
            </a:pPr>
            <a:r>
              <a:rPr lang="en-GB" sz="1200" dirty="0">
                <a:solidFill>
                  <a:srgbClr val="000000"/>
                </a:solidFill>
                <a:latin typeface="Arial" panose="020B0604020202020204" pitchFamily="34" charset="0"/>
                <a:cs typeface="Arial" panose="020B0604020202020204" pitchFamily="34" charset="0"/>
              </a:rPr>
              <a:t>Collaborative planning</a:t>
            </a:r>
          </a:p>
          <a:p>
            <a:pPr marL="569912" lvl="1" indent="-342900">
              <a:spcAft>
                <a:spcPts val="600"/>
              </a:spcAft>
            </a:pPr>
            <a:r>
              <a:rPr lang="en-GB" sz="1200" dirty="0">
                <a:solidFill>
                  <a:srgbClr val="000000"/>
                </a:solidFill>
                <a:latin typeface="Arial" panose="020B0604020202020204" pitchFamily="34" charset="0"/>
                <a:cs typeface="Arial" panose="020B0604020202020204" pitchFamily="34" charset="0"/>
              </a:rPr>
              <a:t>Unified standards</a:t>
            </a:r>
          </a:p>
          <a:p>
            <a:pPr marL="569912" lvl="1" indent="-342900">
              <a:spcAft>
                <a:spcPts val="600"/>
              </a:spcAft>
            </a:pPr>
            <a:r>
              <a:rPr lang="en-GB" sz="1200" dirty="0">
                <a:solidFill>
                  <a:srgbClr val="000000"/>
                </a:solidFill>
                <a:latin typeface="Arial" panose="020B0604020202020204" pitchFamily="34" charset="0"/>
                <a:cs typeface="Arial" panose="020B0604020202020204" pitchFamily="34" charset="0"/>
              </a:rPr>
              <a:t>Joint emergency response procedure</a:t>
            </a:r>
          </a:p>
          <a:p>
            <a:pPr marL="569912" lvl="1" indent="-342900">
              <a:spcAft>
                <a:spcPts val="600"/>
              </a:spcAft>
            </a:pPr>
            <a:r>
              <a:rPr lang="en-GB" sz="1200" dirty="0">
                <a:solidFill>
                  <a:srgbClr val="000000"/>
                </a:solidFill>
                <a:latin typeface="Arial" panose="020B0604020202020204" pitchFamily="34" charset="0"/>
                <a:cs typeface="Arial" panose="020B0604020202020204" pitchFamily="34" charset="0"/>
              </a:rPr>
              <a:t>Real time data sharing</a:t>
            </a:r>
          </a:p>
          <a:p>
            <a:pPr marL="342900" indent="-342900">
              <a:spcAft>
                <a:spcPts val="600"/>
              </a:spcAft>
              <a:buFont typeface="+mj-lt"/>
              <a:buAutoNum type="arabicPeriod"/>
            </a:pPr>
            <a:r>
              <a:rPr lang="en-GB" sz="1200" dirty="0">
                <a:solidFill>
                  <a:srgbClr val="000000"/>
                </a:solidFill>
                <a:latin typeface="Arial" panose="020B0604020202020204" pitchFamily="34" charset="0"/>
                <a:cs typeface="Arial" panose="020B0604020202020204" pitchFamily="34" charset="0"/>
              </a:rPr>
              <a:t>Increased Budget</a:t>
            </a:r>
          </a:p>
          <a:p>
            <a:pPr marL="398462" lvl="1" indent="-171450">
              <a:lnSpc>
                <a:spcPct val="150000"/>
              </a:lnSpc>
              <a:spcAft>
                <a:spcPts val="600"/>
              </a:spcAft>
            </a:pPr>
            <a:r>
              <a:rPr lang="en-US" sz="1200" dirty="0">
                <a:solidFill>
                  <a:srgbClr val="000000"/>
                </a:solidFill>
                <a:latin typeface="Arial" panose="020B0604020202020204" pitchFamily="34" charset="0"/>
                <a:cs typeface="Arial" panose="020B0604020202020204" pitchFamily="34" charset="0"/>
              </a:rPr>
              <a:t>Beijing's budget for air pollution control increased tenfold, from 1.7 billion Yuan in 2009 to 18.22 billion Yuan in 2017.</a:t>
            </a:r>
            <a:endParaRPr lang="en-GB" sz="1200" dirty="0">
              <a:solidFill>
                <a:srgbClr val="000000"/>
              </a:solidFill>
              <a:latin typeface="Arial" panose="020B0604020202020204" pitchFamily="34" charset="0"/>
              <a:cs typeface="Arial" panose="020B0604020202020204" pitchFamily="34" charset="0"/>
            </a:endParaRPr>
          </a:p>
          <a:p>
            <a:pPr marL="398462" lvl="1" indent="-171450">
              <a:spcAft>
                <a:spcPts val="600"/>
              </a:spcAft>
            </a:pPr>
            <a:endParaRPr lang="en-GB" sz="1000" dirty="0">
              <a:solidFill>
                <a:srgbClr val="000000"/>
              </a:solidFill>
              <a:latin typeface="Arial" panose="020B0604020202020204" pitchFamily="34" charset="0"/>
              <a:cs typeface="Arial" panose="020B0604020202020204" pitchFamily="34" charset="0"/>
            </a:endParaRPr>
          </a:p>
          <a:p>
            <a:pPr marL="342900" indent="-342900">
              <a:spcAft>
                <a:spcPts val="600"/>
              </a:spcAft>
              <a:buFont typeface="+mj-lt"/>
              <a:buAutoNum type="arabicPeriod"/>
            </a:pPr>
            <a:endParaRPr lang="en-GB" sz="1200" dirty="0">
              <a:solidFill>
                <a:srgbClr val="000000"/>
              </a:solidFill>
              <a:latin typeface="Arial" panose="020B0604020202020204" pitchFamily="34" charset="0"/>
              <a:cs typeface="Arial" panose="020B0604020202020204" pitchFamily="34" charset="0"/>
            </a:endParaRPr>
          </a:p>
        </p:txBody>
      </p:sp>
      <p:sp>
        <p:nvSpPr>
          <p:cNvPr id="91" name="Text Placeholder 7">
            <a:extLst>
              <a:ext uri="{FF2B5EF4-FFF2-40B4-BE49-F238E27FC236}">
                <a16:creationId xmlns:a16="http://schemas.microsoft.com/office/drawing/2014/main" id="{2692EDDA-3343-4CBF-926D-DC56D7808106}"/>
              </a:ext>
            </a:extLst>
          </p:cNvPr>
          <p:cNvSpPr txBox="1">
            <a:spLocks/>
          </p:cNvSpPr>
          <p:nvPr/>
        </p:nvSpPr>
        <p:spPr>
          <a:xfrm>
            <a:off x="424869" y="3116948"/>
            <a:ext cx="5109494" cy="301621"/>
          </a:xfrm>
          <a:prstGeom prst="rect">
            <a:avLst/>
          </a:prstGeom>
          <a:noFill/>
        </p:spPr>
        <p:txBody>
          <a:bodyPr wrap="square" tIns="27432" bIns="27432">
            <a:spAutoFit/>
          </a:bodyPr>
          <a:lstStyle>
            <a:lvl1pPr marL="0" indent="0" algn="l" rtl="0" eaLnBrk="1" fontAlgn="base" hangingPunct="1">
              <a:spcBef>
                <a:spcPts val="0"/>
              </a:spcBef>
              <a:spcAft>
                <a:spcPct val="0"/>
              </a:spcAft>
              <a:buFontTx/>
              <a:buNone/>
              <a:defRPr sz="2000" b="0" i="0" kern="1200">
                <a:solidFill>
                  <a:schemeClr val="tx2"/>
                </a:solidFill>
                <a:latin typeface="+mj-lt"/>
                <a:ea typeface="ＭＳ Ｐゴシック" charset="-128"/>
                <a:cs typeface="+mn-cs"/>
              </a:defRPr>
            </a:lvl1pPr>
            <a:lvl2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2pPr>
            <a:lvl3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3pPr>
            <a:lvl4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4pPr>
            <a:lvl5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chemeClr val="accent3"/>
                </a:solidFill>
                <a:effectLst/>
                <a:uLnTx/>
                <a:uFillTx/>
                <a:latin typeface="Arial" panose="020B0604020202020204"/>
                <a:ea typeface="ＭＳ Ｐゴシック" charset="-128"/>
                <a:cs typeface="+mn-cs"/>
              </a:rPr>
              <a:t>Results</a:t>
            </a:r>
          </a:p>
        </p:txBody>
      </p:sp>
      <p:sp>
        <p:nvSpPr>
          <p:cNvPr id="92" name="Text Placeholder 7">
            <a:extLst>
              <a:ext uri="{FF2B5EF4-FFF2-40B4-BE49-F238E27FC236}">
                <a16:creationId xmlns:a16="http://schemas.microsoft.com/office/drawing/2014/main" id="{5A624551-6BA7-496D-A8DB-C9F2DDBE55F3}"/>
              </a:ext>
            </a:extLst>
          </p:cNvPr>
          <p:cNvSpPr txBox="1">
            <a:spLocks/>
          </p:cNvSpPr>
          <p:nvPr/>
        </p:nvSpPr>
        <p:spPr>
          <a:xfrm>
            <a:off x="424869" y="1189483"/>
            <a:ext cx="5132967" cy="334583"/>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a:ea typeface="+mn-ea"/>
                <a:cs typeface="+mn-cs"/>
              </a:rPr>
              <a:t>Situation</a:t>
            </a:r>
          </a:p>
        </p:txBody>
      </p:sp>
      <p:sp>
        <p:nvSpPr>
          <p:cNvPr id="93" name="Text Placeholder 7">
            <a:extLst>
              <a:ext uri="{FF2B5EF4-FFF2-40B4-BE49-F238E27FC236}">
                <a16:creationId xmlns:a16="http://schemas.microsoft.com/office/drawing/2014/main" id="{1EE589BD-96E6-4386-A33E-D969D4F3D981}"/>
              </a:ext>
            </a:extLst>
          </p:cNvPr>
          <p:cNvSpPr txBox="1">
            <a:spLocks/>
          </p:cNvSpPr>
          <p:nvPr/>
        </p:nvSpPr>
        <p:spPr>
          <a:xfrm>
            <a:off x="6439451" y="1189483"/>
            <a:ext cx="4966295" cy="301621"/>
          </a:xfrm>
          <a:prstGeom prst="rect">
            <a:avLst/>
          </a:prstGeom>
          <a:noFill/>
        </p:spPr>
        <p:txBody>
          <a:bodyPr wrap="square" tIns="27432" bIns="27432">
            <a:spAutoFit/>
          </a:bodyPr>
          <a:lstStyle>
            <a:lvl1pPr marL="0" indent="0" algn="l" rtl="0" eaLnBrk="1" fontAlgn="base" hangingPunct="1">
              <a:spcBef>
                <a:spcPts val="0"/>
              </a:spcBef>
              <a:spcAft>
                <a:spcPct val="0"/>
              </a:spcAft>
              <a:buFontTx/>
              <a:buNone/>
              <a:defRPr sz="2000" b="0" i="0" kern="1200">
                <a:solidFill>
                  <a:schemeClr val="tx2"/>
                </a:solidFill>
                <a:latin typeface="+mj-lt"/>
                <a:ea typeface="ＭＳ Ｐゴシック" charset="-128"/>
                <a:cs typeface="+mn-cs"/>
              </a:defRPr>
            </a:lvl1pPr>
            <a:lvl2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2pPr>
            <a:lvl3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3pPr>
            <a:lvl4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4pPr>
            <a:lvl5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Arial" panose="020B0604020202020204"/>
                <a:ea typeface="ＭＳ Ｐゴシック" charset="-128"/>
                <a:cs typeface="+mn-cs"/>
              </a:rPr>
              <a:t>Solution</a:t>
            </a:r>
          </a:p>
        </p:txBody>
      </p:sp>
      <p:cxnSp>
        <p:nvCxnSpPr>
          <p:cNvPr id="94" name="Straight Connector 93">
            <a:extLst>
              <a:ext uri="{FF2B5EF4-FFF2-40B4-BE49-F238E27FC236}">
                <a16:creationId xmlns:a16="http://schemas.microsoft.com/office/drawing/2014/main" id="{9DB98EC8-6CE1-4C97-AABC-6120866ABF47}"/>
              </a:ext>
            </a:extLst>
          </p:cNvPr>
          <p:cNvCxnSpPr/>
          <p:nvPr/>
        </p:nvCxnSpPr>
        <p:spPr>
          <a:xfrm>
            <a:off x="424870" y="1574512"/>
            <a:ext cx="5671128" cy="0"/>
          </a:xfrm>
          <a:prstGeom prst="line">
            <a:avLst/>
          </a:prstGeom>
          <a:ln w="762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B4178DFC-6BE5-49F4-926C-1BF890DC5911}"/>
              </a:ext>
            </a:extLst>
          </p:cNvPr>
          <p:cNvCxnSpPr>
            <a:cxnSpLocks/>
          </p:cNvCxnSpPr>
          <p:nvPr/>
        </p:nvCxnSpPr>
        <p:spPr>
          <a:xfrm>
            <a:off x="424870" y="3518375"/>
            <a:ext cx="5671127" cy="0"/>
          </a:xfrm>
          <a:prstGeom prst="line">
            <a:avLst/>
          </a:prstGeom>
          <a:ln w="76200"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75CDEF4-1820-42B4-A40D-7E78EFB661BB}"/>
              </a:ext>
            </a:extLst>
          </p:cNvPr>
          <p:cNvCxnSpPr>
            <a:cxnSpLocks/>
          </p:cNvCxnSpPr>
          <p:nvPr/>
        </p:nvCxnSpPr>
        <p:spPr>
          <a:xfrm>
            <a:off x="6463705" y="1574512"/>
            <a:ext cx="5380632" cy="0"/>
          </a:xfrm>
          <a:prstGeom prst="line">
            <a:avLst/>
          </a:prstGeom>
          <a:ln w="762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0" name="Rectangle: Rounded Corners 99">
            <a:extLst>
              <a:ext uri="{FF2B5EF4-FFF2-40B4-BE49-F238E27FC236}">
                <a16:creationId xmlns:a16="http://schemas.microsoft.com/office/drawing/2014/main" id="{3F1E0DF3-638F-40EC-9A84-FC539A13F27C}"/>
              </a:ext>
            </a:extLst>
          </p:cNvPr>
          <p:cNvSpPr/>
          <p:nvPr/>
        </p:nvSpPr>
        <p:spPr>
          <a:xfrm>
            <a:off x="560794" y="3747286"/>
            <a:ext cx="1607276" cy="806678"/>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bg1"/>
                </a:solidFill>
                <a:ea typeface="Calibri" panose="020F0502020204030204" pitchFamily="34" charset="0"/>
                <a:cs typeface="Calibri" panose="020F0502020204030204" pitchFamily="34" charset="0"/>
              </a:rPr>
              <a:t>Decreased pollutants </a:t>
            </a:r>
          </a:p>
        </p:txBody>
      </p:sp>
      <p:sp>
        <p:nvSpPr>
          <p:cNvPr id="101" name="Rectangle: Rounded Corners 100">
            <a:extLst>
              <a:ext uri="{FF2B5EF4-FFF2-40B4-BE49-F238E27FC236}">
                <a16:creationId xmlns:a16="http://schemas.microsoft.com/office/drawing/2014/main" id="{270EB8B4-1440-4CAD-9AFD-19476B85E10C}"/>
              </a:ext>
            </a:extLst>
          </p:cNvPr>
          <p:cNvSpPr/>
          <p:nvPr/>
        </p:nvSpPr>
        <p:spPr>
          <a:xfrm>
            <a:off x="2300693" y="3747286"/>
            <a:ext cx="1607277" cy="806678"/>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bg1"/>
                </a:solidFill>
                <a:ea typeface="Calibri" panose="020F0502020204030204" pitchFamily="34" charset="0"/>
                <a:cs typeface="Calibri" panose="020F0502020204030204" pitchFamily="34" charset="0"/>
              </a:rPr>
              <a:t>Regional improvement</a:t>
            </a:r>
          </a:p>
        </p:txBody>
      </p:sp>
      <p:sp>
        <p:nvSpPr>
          <p:cNvPr id="102" name="Rectangle: Rounded Corners 101">
            <a:extLst>
              <a:ext uri="{FF2B5EF4-FFF2-40B4-BE49-F238E27FC236}">
                <a16:creationId xmlns:a16="http://schemas.microsoft.com/office/drawing/2014/main" id="{D637AC1B-62BB-4A95-B714-4B6DC8BA3931}"/>
              </a:ext>
            </a:extLst>
          </p:cNvPr>
          <p:cNvSpPr/>
          <p:nvPr/>
        </p:nvSpPr>
        <p:spPr>
          <a:xfrm>
            <a:off x="4017527" y="3747286"/>
            <a:ext cx="1607271" cy="806678"/>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bg1"/>
                </a:solidFill>
                <a:ea typeface="Calibri" panose="020F0502020204030204" pitchFamily="34" charset="0"/>
                <a:cs typeface="Calibri" panose="020F0502020204030204" pitchFamily="34" charset="0"/>
              </a:rPr>
              <a:t>Increased life expectancy</a:t>
            </a:r>
          </a:p>
        </p:txBody>
      </p:sp>
      <p:grpSp>
        <p:nvGrpSpPr>
          <p:cNvPr id="103" name="Group 102">
            <a:extLst>
              <a:ext uri="{FF2B5EF4-FFF2-40B4-BE49-F238E27FC236}">
                <a16:creationId xmlns:a16="http://schemas.microsoft.com/office/drawing/2014/main" id="{F5CC811D-A77B-4AF4-8E53-BC7BC7C8DADB}"/>
              </a:ext>
            </a:extLst>
          </p:cNvPr>
          <p:cNvGrpSpPr/>
          <p:nvPr/>
        </p:nvGrpSpPr>
        <p:grpSpPr>
          <a:xfrm>
            <a:off x="678099" y="4421875"/>
            <a:ext cx="381656" cy="937525"/>
            <a:chOff x="542174" y="4421875"/>
            <a:chExt cx="381656" cy="937525"/>
          </a:xfrm>
        </p:grpSpPr>
        <p:cxnSp>
          <p:nvCxnSpPr>
            <p:cNvPr id="104" name="Straight Connector 103">
              <a:extLst>
                <a:ext uri="{FF2B5EF4-FFF2-40B4-BE49-F238E27FC236}">
                  <a16:creationId xmlns:a16="http://schemas.microsoft.com/office/drawing/2014/main" id="{E844878B-D58B-4FC0-9C42-C8C7D46DACC3}"/>
                </a:ext>
              </a:extLst>
            </p:cNvPr>
            <p:cNvCxnSpPr>
              <a:cxnSpLocks/>
            </p:cNvCxnSpPr>
            <p:nvPr/>
          </p:nvCxnSpPr>
          <p:spPr>
            <a:xfrm>
              <a:off x="542174" y="4421875"/>
              <a:ext cx="0" cy="937525"/>
            </a:xfrm>
            <a:prstGeom prst="line">
              <a:avLst/>
            </a:prstGeom>
            <a:ln w="38100"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284CAE9-8BB9-4D06-955F-973A38B3E18D}"/>
                </a:ext>
              </a:extLst>
            </p:cNvPr>
            <p:cNvCxnSpPr>
              <a:cxnSpLocks/>
            </p:cNvCxnSpPr>
            <p:nvPr/>
          </p:nvCxnSpPr>
          <p:spPr>
            <a:xfrm flipH="1">
              <a:off x="542175" y="5359400"/>
              <a:ext cx="381655" cy="0"/>
            </a:xfrm>
            <a:prstGeom prst="line">
              <a:avLst/>
            </a:prstGeom>
            <a:ln w="38100" cap="rnd">
              <a:solidFill>
                <a:schemeClr val="accent3"/>
              </a:solidFill>
              <a:round/>
            </a:ln>
          </p:spPr>
          <p:style>
            <a:lnRef idx="1">
              <a:schemeClr val="accent1"/>
            </a:lnRef>
            <a:fillRef idx="0">
              <a:schemeClr val="accent1"/>
            </a:fillRef>
            <a:effectRef idx="0">
              <a:schemeClr val="accent1"/>
            </a:effectRef>
            <a:fontRef idx="minor">
              <a:schemeClr val="tx1"/>
            </a:fontRef>
          </p:style>
        </p:cxnSp>
      </p:grpSp>
      <p:sp>
        <p:nvSpPr>
          <p:cNvPr id="106" name="Rectangle: Rounded Corners 105">
            <a:extLst>
              <a:ext uri="{FF2B5EF4-FFF2-40B4-BE49-F238E27FC236}">
                <a16:creationId xmlns:a16="http://schemas.microsoft.com/office/drawing/2014/main" id="{263F4A5D-6B9D-450F-A3BA-9106F8225864}"/>
              </a:ext>
            </a:extLst>
          </p:cNvPr>
          <p:cNvSpPr/>
          <p:nvPr/>
        </p:nvSpPr>
        <p:spPr>
          <a:xfrm>
            <a:off x="920058" y="4803650"/>
            <a:ext cx="1400298" cy="1096692"/>
          </a:xfrm>
          <a:prstGeom prst="round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GB" sz="1050" dirty="0">
                <a:solidFill>
                  <a:srgbClr val="000000"/>
                </a:solidFill>
                <a:latin typeface="Arial" panose="020B0604020202020204" pitchFamily="34" charset="0"/>
                <a:cs typeface="Arial" panose="020B0604020202020204" pitchFamily="34" charset="0"/>
              </a:rPr>
              <a:t>Sharp decline in pollutants- SO2 by 83%, </a:t>
            </a:r>
            <a:r>
              <a:rPr lang="en-GB" sz="1050" dirty="0" err="1">
                <a:solidFill>
                  <a:srgbClr val="000000"/>
                </a:solidFill>
                <a:latin typeface="Arial" panose="020B0604020202020204" pitchFamily="34" charset="0"/>
                <a:cs typeface="Arial" panose="020B0604020202020204" pitchFamily="34" charset="0"/>
              </a:rPr>
              <a:t>Nox</a:t>
            </a:r>
            <a:r>
              <a:rPr lang="en-GB" sz="1050" dirty="0">
                <a:solidFill>
                  <a:srgbClr val="000000"/>
                </a:solidFill>
                <a:latin typeface="Arial" panose="020B0604020202020204" pitchFamily="34" charset="0"/>
                <a:cs typeface="Arial" panose="020B0604020202020204" pitchFamily="34" charset="0"/>
              </a:rPr>
              <a:t> by 43%, PM2.5 by 55% and VOCs by 42% </a:t>
            </a:r>
          </a:p>
        </p:txBody>
      </p:sp>
      <p:sp>
        <p:nvSpPr>
          <p:cNvPr id="107" name="Rectangle: Rounded Corners 106">
            <a:extLst>
              <a:ext uri="{FF2B5EF4-FFF2-40B4-BE49-F238E27FC236}">
                <a16:creationId xmlns:a16="http://schemas.microsoft.com/office/drawing/2014/main" id="{BFFBEA5E-C51E-47D1-AC3C-CAF8AC0F7CE4}"/>
              </a:ext>
            </a:extLst>
          </p:cNvPr>
          <p:cNvSpPr/>
          <p:nvPr/>
        </p:nvSpPr>
        <p:spPr>
          <a:xfrm>
            <a:off x="2680274" y="4803650"/>
            <a:ext cx="1400298" cy="1096692"/>
          </a:xfrm>
          <a:prstGeom prst="roundRect">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GB" sz="1050" dirty="0">
                <a:solidFill>
                  <a:srgbClr val="000000"/>
                </a:solidFill>
                <a:latin typeface="Arial" panose="020B0604020202020204" pitchFamily="34" charset="0"/>
                <a:cs typeface="Arial" panose="020B0604020202020204" pitchFamily="34" charset="0"/>
              </a:rPr>
              <a:t>Annual average PM2.5 concentration in BTH and surrounding areas decreased by 25%</a:t>
            </a:r>
          </a:p>
        </p:txBody>
      </p:sp>
      <p:grpSp>
        <p:nvGrpSpPr>
          <p:cNvPr id="108" name="Group 107">
            <a:extLst>
              <a:ext uri="{FF2B5EF4-FFF2-40B4-BE49-F238E27FC236}">
                <a16:creationId xmlns:a16="http://schemas.microsoft.com/office/drawing/2014/main" id="{5F3ADBB3-BC6B-4449-9BC8-AABA982F95DA}"/>
              </a:ext>
            </a:extLst>
          </p:cNvPr>
          <p:cNvGrpSpPr/>
          <p:nvPr/>
        </p:nvGrpSpPr>
        <p:grpSpPr>
          <a:xfrm>
            <a:off x="4271399" y="4421875"/>
            <a:ext cx="381656" cy="937525"/>
            <a:chOff x="542174" y="4421875"/>
            <a:chExt cx="381656" cy="937525"/>
          </a:xfrm>
        </p:grpSpPr>
        <p:cxnSp>
          <p:nvCxnSpPr>
            <p:cNvPr id="109" name="Straight Connector 108">
              <a:extLst>
                <a:ext uri="{FF2B5EF4-FFF2-40B4-BE49-F238E27FC236}">
                  <a16:creationId xmlns:a16="http://schemas.microsoft.com/office/drawing/2014/main" id="{389E2CF5-EB3E-45BE-A797-2EAD4222D0AC}"/>
                </a:ext>
              </a:extLst>
            </p:cNvPr>
            <p:cNvCxnSpPr>
              <a:cxnSpLocks/>
            </p:cNvCxnSpPr>
            <p:nvPr/>
          </p:nvCxnSpPr>
          <p:spPr>
            <a:xfrm>
              <a:off x="542174" y="4421875"/>
              <a:ext cx="0" cy="937525"/>
            </a:xfrm>
            <a:prstGeom prst="line">
              <a:avLst/>
            </a:prstGeom>
            <a:ln w="38100" cap="rnd">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12D9659A-859B-4AE1-A56F-A8A6E5333155}"/>
                </a:ext>
              </a:extLst>
            </p:cNvPr>
            <p:cNvCxnSpPr>
              <a:cxnSpLocks/>
            </p:cNvCxnSpPr>
            <p:nvPr/>
          </p:nvCxnSpPr>
          <p:spPr>
            <a:xfrm flipH="1">
              <a:off x="542175" y="5359400"/>
              <a:ext cx="381655" cy="0"/>
            </a:xfrm>
            <a:prstGeom prst="line">
              <a:avLst/>
            </a:prstGeom>
            <a:ln w="38100" cap="rnd">
              <a:solidFill>
                <a:schemeClr val="accent5"/>
              </a:solidFill>
              <a:round/>
            </a:ln>
          </p:spPr>
          <p:style>
            <a:lnRef idx="1">
              <a:schemeClr val="accent1"/>
            </a:lnRef>
            <a:fillRef idx="0">
              <a:schemeClr val="accent1"/>
            </a:fillRef>
            <a:effectRef idx="0">
              <a:schemeClr val="accent1"/>
            </a:effectRef>
            <a:fontRef idx="minor">
              <a:schemeClr val="tx1"/>
            </a:fontRef>
          </p:style>
        </p:cxnSp>
      </p:grpSp>
      <p:sp>
        <p:nvSpPr>
          <p:cNvPr id="111" name="Rectangle: Rounded Corners 110">
            <a:extLst>
              <a:ext uri="{FF2B5EF4-FFF2-40B4-BE49-F238E27FC236}">
                <a16:creationId xmlns:a16="http://schemas.microsoft.com/office/drawing/2014/main" id="{6B703B6D-E6BF-424D-AEF7-04A6B2F12F41}"/>
              </a:ext>
            </a:extLst>
          </p:cNvPr>
          <p:cNvSpPr/>
          <p:nvPr/>
        </p:nvSpPr>
        <p:spPr>
          <a:xfrm>
            <a:off x="4462227" y="4803650"/>
            <a:ext cx="1400298" cy="1096692"/>
          </a:xfrm>
          <a:prstGeom prst="round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GB" sz="1050" dirty="0">
                <a:solidFill>
                  <a:srgbClr val="000000"/>
                </a:solidFill>
                <a:latin typeface="Arial" panose="020B0604020202020204" pitchFamily="34" charset="0"/>
                <a:cs typeface="Arial" panose="020B0604020202020204" pitchFamily="34" charset="0"/>
              </a:rPr>
              <a:t>Increase of 4.6 years of life expectancy of the local residents.</a:t>
            </a:r>
          </a:p>
        </p:txBody>
      </p:sp>
      <p:sp>
        <p:nvSpPr>
          <p:cNvPr id="4" name="TextBox 3">
            <a:extLst>
              <a:ext uri="{FF2B5EF4-FFF2-40B4-BE49-F238E27FC236}">
                <a16:creationId xmlns:a16="http://schemas.microsoft.com/office/drawing/2014/main" id="{B049730B-55AD-45B2-530A-5A4B33AFC408}"/>
              </a:ext>
            </a:extLst>
          </p:cNvPr>
          <p:cNvSpPr txBox="1"/>
          <p:nvPr/>
        </p:nvSpPr>
        <p:spPr>
          <a:xfrm>
            <a:off x="424869" y="6033989"/>
            <a:ext cx="5921501" cy="738664"/>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Long-Term Trends</a:t>
            </a:r>
            <a:r>
              <a:rPr lang="en-US" sz="1400" dirty="0">
                <a:latin typeface="Arial" panose="020B0604020202020204" pitchFamily="34" charset="0"/>
                <a:cs typeface="Arial" panose="020B0604020202020204" pitchFamily="34" charset="0"/>
              </a:rPr>
              <a:t>: From 1998 to 2018, Beijing achieved continuous improvements in air quality, with annual average concentrations of SO2, NO2, and PM10 decreasing by 93.3%, 37.8%, and 55.3%, respectively.</a:t>
            </a:r>
            <a:endParaRPr lang="en-IN"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6982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52">
            <a:extLst>
              <a:ext uri="{FF2B5EF4-FFF2-40B4-BE49-F238E27FC236}">
                <a16:creationId xmlns:a16="http://schemas.microsoft.com/office/drawing/2014/main" id="{48AC36FF-BA7C-4440-8586-CF4E8150C09A}"/>
              </a:ext>
            </a:extLst>
          </p:cNvPr>
          <p:cNvSpPr>
            <a:spLocks noGrp="1"/>
          </p:cNvSpPr>
          <p:nvPr>
            <p:ph type="title" idx="4294967295"/>
          </p:nvPr>
        </p:nvSpPr>
        <p:spPr>
          <a:xfrm>
            <a:off x="384694" y="294468"/>
            <a:ext cx="9378777" cy="768263"/>
          </a:xfrm>
        </p:spPr>
        <p:txBody>
          <a:bodyPr>
            <a:normAutofit/>
          </a:bodyPr>
          <a:lstStyle/>
          <a:p>
            <a:pPr algn="ctr"/>
            <a:r>
              <a:rPr lang="en-US" sz="2900" dirty="0">
                <a:latin typeface="Arial" panose="020B0604020202020204" pitchFamily="34" charset="0"/>
                <a:cs typeface="Arial" panose="020B0604020202020204" pitchFamily="34" charset="0"/>
              </a:rPr>
              <a:t>Case study – Seoul has lifted its smog</a:t>
            </a:r>
          </a:p>
        </p:txBody>
      </p:sp>
      <p:sp>
        <p:nvSpPr>
          <p:cNvPr id="88" name="Text Placeholder 8">
            <a:extLst>
              <a:ext uri="{FF2B5EF4-FFF2-40B4-BE49-F238E27FC236}">
                <a16:creationId xmlns:a16="http://schemas.microsoft.com/office/drawing/2014/main" id="{579DFEB6-A302-43BD-B46D-0A06619EC047}"/>
              </a:ext>
            </a:extLst>
          </p:cNvPr>
          <p:cNvSpPr txBox="1">
            <a:spLocks/>
          </p:cNvSpPr>
          <p:nvPr/>
        </p:nvSpPr>
        <p:spPr>
          <a:xfrm>
            <a:off x="424869" y="1688399"/>
            <a:ext cx="5671128" cy="1454516"/>
          </a:xfrm>
          <a:prstGeom prst="rect">
            <a:avLst/>
          </a:prstGeom>
        </p:spPr>
        <p:txBody>
          <a:bodyPr>
            <a:noAutofit/>
          </a:bodyPr>
          <a:lstStyle>
            <a:lvl1pPr marL="230188" indent="-230188" algn="l" rtl="0" eaLnBrk="1" fontAlgn="base" hangingPunct="1">
              <a:spcBef>
                <a:spcPct val="20000"/>
              </a:spcBef>
              <a:spcAft>
                <a:spcPct val="0"/>
              </a:spcAft>
              <a:buFont typeface="Arial" charset="0"/>
              <a:buChar char="•"/>
              <a:defRPr kern="1200">
                <a:solidFill>
                  <a:srgbClr val="414343"/>
                </a:solidFill>
                <a:latin typeface="+mn-lt"/>
                <a:ea typeface="ＭＳ Ｐゴシック" charset="-128"/>
                <a:cs typeface="+mn-cs"/>
              </a:defRPr>
            </a:lvl1pPr>
            <a:lvl2pPr marL="457200" indent="-234950" algn="l" rtl="0" eaLnBrk="1" fontAlgn="base" hangingPunct="1">
              <a:spcBef>
                <a:spcPct val="20000"/>
              </a:spcBef>
              <a:spcAft>
                <a:spcPct val="0"/>
              </a:spcAft>
              <a:buFont typeface="Lucida Grande" charset="0"/>
              <a:buChar char="&gt;"/>
              <a:defRPr sz="1600" kern="1200">
                <a:solidFill>
                  <a:srgbClr val="414343"/>
                </a:solidFill>
                <a:latin typeface="+mn-lt"/>
                <a:ea typeface="ＭＳ Ｐゴシック" charset="-128"/>
                <a:cs typeface="+mn-cs"/>
              </a:defRPr>
            </a:lvl2pPr>
            <a:lvl3pPr marL="679450" indent="-222250" algn="l" rtl="0" eaLnBrk="1" fontAlgn="base" hangingPunct="1">
              <a:spcBef>
                <a:spcPct val="20000"/>
              </a:spcBef>
              <a:spcAft>
                <a:spcPct val="0"/>
              </a:spcAft>
              <a:buFont typeface="Lucida Grande" charset="0"/>
              <a:buChar char="-"/>
              <a:defRPr sz="1600" kern="1200">
                <a:solidFill>
                  <a:srgbClr val="414343"/>
                </a:solidFill>
                <a:latin typeface="+mn-lt"/>
                <a:ea typeface="ＭＳ Ｐゴシック" charset="-128"/>
                <a:cs typeface="+mn-cs"/>
              </a:defRPr>
            </a:lvl3pPr>
            <a:lvl4pPr marL="914400" indent="-2349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4pPr>
            <a:lvl5pPr marL="1144588" indent="-2222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300"/>
              </a:spcAft>
              <a:tabLst>
                <a:tab pos="4283075" algn="l"/>
              </a:tabLst>
            </a:pPr>
            <a:r>
              <a:rPr lang="en-US" sz="1200" dirty="0">
                <a:latin typeface="Arial" panose="020B0604020202020204" pitchFamily="34" charset="0"/>
                <a:ea typeface="Noto Sans" panose="020B0502040504020204" pitchFamily="34"/>
                <a:cs typeface="Arial" panose="020B0604020202020204" pitchFamily="34" charset="0"/>
              </a:rPr>
              <a:t>Rapid industrialization, urbanization, manufacturing growth, vehicle emissions, and coal dependence led to severe air pollution in Seoul.</a:t>
            </a:r>
          </a:p>
          <a:p>
            <a:pPr>
              <a:spcAft>
                <a:spcPts val="300"/>
              </a:spcAft>
              <a:tabLst>
                <a:tab pos="4283075" algn="l"/>
              </a:tabLst>
            </a:pPr>
            <a:r>
              <a:rPr lang="en-US" sz="1200" dirty="0">
                <a:latin typeface="Arial" panose="020B0604020202020204" pitchFamily="34" charset="0"/>
                <a:ea typeface="Noto Sans" panose="020B0502040504020204" pitchFamily="34"/>
                <a:cs typeface="Arial" panose="020B0604020202020204" pitchFamily="34" charset="0"/>
              </a:rPr>
              <a:t>The dense urban environment, high population density, and critical pollution levels by the 1990s prompted government and public attention toward addressing Seoul's air quality crisis.</a:t>
            </a:r>
          </a:p>
          <a:p>
            <a:pPr>
              <a:spcAft>
                <a:spcPts val="300"/>
              </a:spcAft>
              <a:tabLst>
                <a:tab pos="4283075" algn="l"/>
              </a:tabLst>
            </a:pPr>
            <a:r>
              <a:rPr lang="en-US" sz="1200" dirty="0">
                <a:latin typeface="Arial" panose="020B0604020202020204" pitchFamily="34" charset="0"/>
                <a:ea typeface="Noto Sans" panose="020B0502040504020204" pitchFamily="34"/>
                <a:cs typeface="Arial" panose="020B0604020202020204" pitchFamily="34" charset="0"/>
              </a:rPr>
              <a:t>The smog was so bad that the white shirts wore in the morning turn black by the evening.</a:t>
            </a:r>
          </a:p>
        </p:txBody>
      </p:sp>
      <p:sp>
        <p:nvSpPr>
          <p:cNvPr id="89" name="Text Placeholder 9">
            <a:extLst>
              <a:ext uri="{FF2B5EF4-FFF2-40B4-BE49-F238E27FC236}">
                <a16:creationId xmlns:a16="http://schemas.microsoft.com/office/drawing/2014/main" id="{777E7595-E8A2-4DBE-AD7E-2FFC290D7A61}"/>
              </a:ext>
            </a:extLst>
          </p:cNvPr>
          <p:cNvSpPr txBox="1">
            <a:spLocks/>
          </p:cNvSpPr>
          <p:nvPr/>
        </p:nvSpPr>
        <p:spPr>
          <a:xfrm>
            <a:off x="6439451" y="1717386"/>
            <a:ext cx="5475245" cy="5140614"/>
          </a:xfrm>
          <a:prstGeom prst="rect">
            <a:avLst/>
          </a:prstGeom>
        </p:spPr>
        <p:txBody>
          <a:bodyPr>
            <a:noAutofit/>
          </a:bodyPr>
          <a:lstStyle>
            <a:lvl1pPr marL="230188" indent="-230188" algn="l" rtl="0" eaLnBrk="1" fontAlgn="base" hangingPunct="1">
              <a:spcBef>
                <a:spcPct val="20000"/>
              </a:spcBef>
              <a:spcAft>
                <a:spcPct val="0"/>
              </a:spcAft>
              <a:buFont typeface="Arial" charset="0"/>
              <a:buChar char="•"/>
              <a:defRPr kern="1200">
                <a:solidFill>
                  <a:srgbClr val="414343"/>
                </a:solidFill>
                <a:latin typeface="+mn-lt"/>
                <a:ea typeface="ＭＳ Ｐゴシック" charset="-128"/>
                <a:cs typeface="+mn-cs"/>
              </a:defRPr>
            </a:lvl1pPr>
            <a:lvl2pPr marL="457200" indent="-234950" algn="l" rtl="0" eaLnBrk="1" fontAlgn="base" hangingPunct="1">
              <a:spcBef>
                <a:spcPct val="20000"/>
              </a:spcBef>
              <a:spcAft>
                <a:spcPct val="0"/>
              </a:spcAft>
              <a:buFont typeface="Lucida Grande" charset="0"/>
              <a:buChar char="&gt;"/>
              <a:defRPr sz="1600" kern="1200">
                <a:solidFill>
                  <a:srgbClr val="414343"/>
                </a:solidFill>
                <a:latin typeface="+mn-lt"/>
                <a:ea typeface="ＭＳ Ｐゴシック" charset="-128"/>
                <a:cs typeface="+mn-cs"/>
              </a:defRPr>
            </a:lvl2pPr>
            <a:lvl3pPr marL="679450" indent="-222250" algn="l" rtl="0" eaLnBrk="1" fontAlgn="base" hangingPunct="1">
              <a:spcBef>
                <a:spcPct val="20000"/>
              </a:spcBef>
              <a:spcAft>
                <a:spcPct val="0"/>
              </a:spcAft>
              <a:buFont typeface="Lucida Grande" charset="0"/>
              <a:buChar char="-"/>
              <a:defRPr sz="1600" kern="1200">
                <a:solidFill>
                  <a:srgbClr val="414343"/>
                </a:solidFill>
                <a:latin typeface="+mn-lt"/>
                <a:ea typeface="ＭＳ Ｐゴシック" charset="-128"/>
                <a:cs typeface="+mn-cs"/>
              </a:defRPr>
            </a:lvl3pPr>
            <a:lvl4pPr marL="914400" indent="-2349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4pPr>
            <a:lvl5pPr marL="1144588" indent="-2222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50000"/>
              </a:lnSpc>
              <a:spcBef>
                <a:spcPts val="0"/>
              </a:spcBef>
              <a:spcAft>
                <a:spcPts val="0"/>
              </a:spcAft>
              <a:buNone/>
            </a:pPr>
            <a:r>
              <a:rPr lang="en-IN" sz="1100" kern="100" dirty="0">
                <a:effectLst/>
                <a:latin typeface="Arial" panose="020B0604020202020204" pitchFamily="34" charset="0"/>
                <a:ea typeface="Aptos" panose="020B0004020202020204" pitchFamily="34" charset="0"/>
                <a:cs typeface="Times New Roman" panose="02020603050405020304" pitchFamily="18" charset="0"/>
              </a:rPr>
              <a:t>1</a:t>
            </a:r>
            <a:r>
              <a:rPr lang="en-IN" sz="1050" kern="100" dirty="0">
                <a:effectLst/>
                <a:latin typeface="Arial" panose="020B0604020202020204" pitchFamily="34" charset="0"/>
                <a:ea typeface="Aptos" panose="020B0004020202020204" pitchFamily="34" charset="0"/>
                <a:cs typeface="Times New Roman" panose="02020603050405020304" pitchFamily="18" charset="0"/>
              </a:rPr>
              <a:t>. </a:t>
            </a:r>
            <a:r>
              <a:rPr lang="en-IN" sz="1050" kern="100" dirty="0">
                <a:effectLst/>
                <a:latin typeface="Arial" panose="020B0604020202020204" pitchFamily="34" charset="0"/>
                <a:ea typeface="Aptos" panose="020B0004020202020204" pitchFamily="34" charset="0"/>
                <a:cs typeface="Arial" panose="020B0604020202020204" pitchFamily="34" charset="0"/>
              </a:rPr>
              <a:t>Regulatory and Policy Measures</a:t>
            </a:r>
          </a:p>
          <a:p>
            <a:pPr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Special Act on the Improvement of Air Quality in the Seoul Metropolitan Area (2005): </a:t>
            </a:r>
          </a:p>
          <a:p>
            <a:pPr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Comprehensive Plan for Air Quality Improvement (2006): Focused on reducing emissions from key sectors like industry and transportation.</a:t>
            </a:r>
          </a:p>
          <a:p>
            <a:pPr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Air Pollutant Emission-Cap Regulation (2007, expanded in 2009): Provided total emission allowances to businesses and implemented an emissions trading system.</a:t>
            </a:r>
          </a:p>
          <a:p>
            <a:pPr marL="0" indent="0" algn="just">
              <a:lnSpc>
                <a:spcPct val="150000"/>
              </a:lnSpc>
              <a:spcBef>
                <a:spcPts val="0"/>
              </a:spcBef>
              <a:spcAft>
                <a:spcPts val="0"/>
              </a:spcAft>
              <a:buNone/>
            </a:pPr>
            <a:r>
              <a:rPr lang="en-IN" sz="1050" kern="100" dirty="0">
                <a:effectLst/>
                <a:latin typeface="Arial" panose="020B0604020202020204" pitchFamily="34" charset="0"/>
                <a:ea typeface="Aptos" panose="020B0004020202020204" pitchFamily="34" charset="0"/>
                <a:cs typeface="Arial" panose="020B0604020202020204" pitchFamily="34" charset="0"/>
              </a:rPr>
              <a:t>2. Transition and Technological Measures</a:t>
            </a:r>
          </a:p>
          <a:p>
            <a:pPr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Transition from Coal to Natural Gas</a:t>
            </a:r>
          </a:p>
          <a:p>
            <a:pPr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Stricter Emissions Standards</a:t>
            </a:r>
          </a:p>
          <a:p>
            <a:pPr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Promotion of Public Transportation and Green Technologies</a:t>
            </a:r>
          </a:p>
          <a:p>
            <a:pPr marL="0" indent="0" algn="just">
              <a:lnSpc>
                <a:spcPct val="150000"/>
              </a:lnSpc>
              <a:spcBef>
                <a:spcPts val="0"/>
              </a:spcBef>
              <a:spcAft>
                <a:spcPts val="0"/>
              </a:spcAft>
              <a:buNone/>
            </a:pPr>
            <a:r>
              <a:rPr lang="en-IN" sz="1050" kern="100" dirty="0">
                <a:effectLst/>
                <a:latin typeface="Arial" panose="020B0604020202020204" pitchFamily="34" charset="0"/>
                <a:ea typeface="Aptos" panose="020B0004020202020204" pitchFamily="34" charset="0"/>
                <a:cs typeface="Arial" panose="020B0604020202020204" pitchFamily="34" charset="0"/>
              </a:rPr>
              <a:t>3. Investments and Monitoring</a:t>
            </a:r>
          </a:p>
          <a:p>
            <a:pPr lvl="0"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Air Quality Monitoring Networks</a:t>
            </a:r>
          </a:p>
          <a:p>
            <a:pPr lvl="0"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Investment in Air Quality Management: Between 2007 and 2020, approximately $9 billion was invested in air quality management</a:t>
            </a:r>
          </a:p>
          <a:p>
            <a:pPr lvl="0"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Public Engagement and Evidence Generation</a:t>
            </a:r>
          </a:p>
          <a:p>
            <a:pPr marL="0" indent="0" algn="just">
              <a:lnSpc>
                <a:spcPct val="150000"/>
              </a:lnSpc>
              <a:spcBef>
                <a:spcPts val="0"/>
              </a:spcBef>
              <a:spcAft>
                <a:spcPts val="0"/>
              </a:spcAft>
              <a:buNone/>
            </a:pPr>
            <a:r>
              <a:rPr lang="en-IN" sz="1050" kern="100" dirty="0">
                <a:effectLst/>
                <a:latin typeface="Arial" panose="020B0604020202020204" pitchFamily="34" charset="0"/>
                <a:ea typeface="Aptos" panose="020B0004020202020204" pitchFamily="34" charset="0"/>
                <a:cs typeface="Arial" panose="020B0604020202020204" pitchFamily="34" charset="0"/>
              </a:rPr>
              <a:t>4. Specific Initiatives</a:t>
            </a:r>
          </a:p>
          <a:p>
            <a:pPr lvl="0"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Promotion of Environment-Friendly Driving Culture</a:t>
            </a:r>
          </a:p>
          <a:p>
            <a:pPr lvl="0"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Facilitation of Low Carbon, Eco-Friendly Modes of Transport:</a:t>
            </a:r>
          </a:p>
          <a:p>
            <a:pPr lvl="0"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International and Domestic Cooperation:</a:t>
            </a:r>
          </a:p>
          <a:p>
            <a:pPr lvl="0"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Reduction of Fine Particulate Matter (PM2.5):</a:t>
            </a:r>
          </a:p>
          <a:p>
            <a:pPr lvl="0" algn="just">
              <a:lnSpc>
                <a:spcPct val="150000"/>
              </a:lnSpc>
              <a:spcBef>
                <a:spcPts val="0"/>
              </a:spcBef>
              <a:spcAft>
                <a:spcPts val="0"/>
              </a:spcAft>
              <a:buFont typeface="Wingdings" panose="05000000000000000000" pitchFamily="2" charset="2"/>
              <a:buChar char="Ø"/>
              <a:tabLst>
                <a:tab pos="457200" algn="l"/>
              </a:tabLst>
            </a:pPr>
            <a:r>
              <a:rPr lang="en-IN" sz="1050" kern="100" dirty="0">
                <a:effectLst/>
                <a:latin typeface="Arial" panose="020B0604020202020204" pitchFamily="34" charset="0"/>
                <a:ea typeface="Aptos" panose="020B0004020202020204" pitchFamily="34" charset="0"/>
                <a:cs typeface="Arial" panose="020B0604020202020204" pitchFamily="34" charset="0"/>
              </a:rPr>
              <a:t>Subway Air Quality Improvement:</a:t>
            </a:r>
          </a:p>
          <a:p>
            <a:pPr>
              <a:spcAft>
                <a:spcPts val="600"/>
              </a:spcAft>
            </a:pPr>
            <a:endParaRPr lang="en-GB" sz="1400" dirty="0">
              <a:solidFill>
                <a:srgbClr val="000000"/>
              </a:solidFill>
            </a:endParaRPr>
          </a:p>
        </p:txBody>
      </p:sp>
      <p:sp>
        <p:nvSpPr>
          <p:cNvPr id="92" name="Text Placeholder 7">
            <a:extLst>
              <a:ext uri="{FF2B5EF4-FFF2-40B4-BE49-F238E27FC236}">
                <a16:creationId xmlns:a16="http://schemas.microsoft.com/office/drawing/2014/main" id="{5A624551-6BA7-496D-A8DB-C9F2DDBE55F3}"/>
              </a:ext>
            </a:extLst>
          </p:cNvPr>
          <p:cNvSpPr txBox="1">
            <a:spLocks/>
          </p:cNvSpPr>
          <p:nvPr/>
        </p:nvSpPr>
        <p:spPr>
          <a:xfrm>
            <a:off x="424869" y="1189483"/>
            <a:ext cx="5132967" cy="334583"/>
          </a:xfrm>
          <a:prstGeom prst="rect">
            <a:avLst/>
          </a:prstGeom>
          <a:no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a:ea typeface="+mn-ea"/>
                <a:cs typeface="+mn-cs"/>
              </a:rPr>
              <a:t>Situation</a:t>
            </a:r>
          </a:p>
        </p:txBody>
      </p:sp>
      <p:sp>
        <p:nvSpPr>
          <p:cNvPr id="93" name="Text Placeholder 7">
            <a:extLst>
              <a:ext uri="{FF2B5EF4-FFF2-40B4-BE49-F238E27FC236}">
                <a16:creationId xmlns:a16="http://schemas.microsoft.com/office/drawing/2014/main" id="{1EE589BD-96E6-4386-A33E-D969D4F3D981}"/>
              </a:ext>
            </a:extLst>
          </p:cNvPr>
          <p:cNvSpPr txBox="1">
            <a:spLocks/>
          </p:cNvSpPr>
          <p:nvPr/>
        </p:nvSpPr>
        <p:spPr>
          <a:xfrm>
            <a:off x="6439451" y="1189483"/>
            <a:ext cx="4966295" cy="301621"/>
          </a:xfrm>
          <a:prstGeom prst="rect">
            <a:avLst/>
          </a:prstGeom>
          <a:noFill/>
        </p:spPr>
        <p:txBody>
          <a:bodyPr wrap="square" tIns="27432" bIns="27432">
            <a:spAutoFit/>
          </a:bodyPr>
          <a:lstStyle>
            <a:lvl1pPr marL="0" indent="0" algn="l" rtl="0" eaLnBrk="1" fontAlgn="base" hangingPunct="1">
              <a:spcBef>
                <a:spcPts val="0"/>
              </a:spcBef>
              <a:spcAft>
                <a:spcPct val="0"/>
              </a:spcAft>
              <a:buFontTx/>
              <a:buNone/>
              <a:defRPr sz="2000" b="0" i="0" kern="1200">
                <a:solidFill>
                  <a:schemeClr val="tx2"/>
                </a:solidFill>
                <a:latin typeface="+mj-lt"/>
                <a:ea typeface="ＭＳ Ｐゴシック" charset="-128"/>
                <a:cs typeface="+mn-cs"/>
              </a:defRPr>
            </a:lvl1pPr>
            <a:lvl2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2pPr>
            <a:lvl3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3pPr>
            <a:lvl4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4pPr>
            <a:lvl5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Arial" panose="020B0604020202020204"/>
                <a:ea typeface="ＭＳ Ｐゴシック" charset="-128"/>
                <a:cs typeface="+mn-cs"/>
              </a:rPr>
              <a:t>Solution</a:t>
            </a:r>
          </a:p>
        </p:txBody>
      </p:sp>
      <p:cxnSp>
        <p:nvCxnSpPr>
          <p:cNvPr id="94" name="Straight Connector 93">
            <a:extLst>
              <a:ext uri="{FF2B5EF4-FFF2-40B4-BE49-F238E27FC236}">
                <a16:creationId xmlns:a16="http://schemas.microsoft.com/office/drawing/2014/main" id="{9DB98EC8-6CE1-4C97-AABC-6120866ABF47}"/>
              </a:ext>
            </a:extLst>
          </p:cNvPr>
          <p:cNvCxnSpPr/>
          <p:nvPr/>
        </p:nvCxnSpPr>
        <p:spPr>
          <a:xfrm>
            <a:off x="424870" y="1574512"/>
            <a:ext cx="5671128" cy="0"/>
          </a:xfrm>
          <a:prstGeom prst="line">
            <a:avLst/>
          </a:prstGeom>
          <a:ln w="762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75CDEF4-1820-42B4-A40D-7E78EFB661BB}"/>
              </a:ext>
            </a:extLst>
          </p:cNvPr>
          <p:cNvCxnSpPr>
            <a:cxnSpLocks/>
          </p:cNvCxnSpPr>
          <p:nvPr/>
        </p:nvCxnSpPr>
        <p:spPr>
          <a:xfrm>
            <a:off x="6463705" y="1574512"/>
            <a:ext cx="5380632" cy="0"/>
          </a:xfrm>
          <a:prstGeom prst="line">
            <a:avLst/>
          </a:prstGeom>
          <a:ln w="76200" cap="rnd">
            <a:solidFill>
              <a:schemeClr val="accent2"/>
            </a:solidFill>
            <a:roun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193C2CF9-7CDC-875C-DE4B-8B7F27A6B2D3}"/>
              </a:ext>
            </a:extLst>
          </p:cNvPr>
          <p:cNvGrpSpPr/>
          <p:nvPr/>
        </p:nvGrpSpPr>
        <p:grpSpPr>
          <a:xfrm>
            <a:off x="384694" y="3307248"/>
            <a:ext cx="5711304" cy="2737091"/>
            <a:chOff x="384694" y="3163251"/>
            <a:chExt cx="5711304" cy="2737091"/>
          </a:xfrm>
        </p:grpSpPr>
        <p:grpSp>
          <p:nvGrpSpPr>
            <p:cNvPr id="83" name="Group 82">
              <a:extLst>
                <a:ext uri="{FF2B5EF4-FFF2-40B4-BE49-F238E27FC236}">
                  <a16:creationId xmlns:a16="http://schemas.microsoft.com/office/drawing/2014/main" id="{D7152A40-59D3-491D-AD6C-02E19C8CFCE4}"/>
                </a:ext>
              </a:extLst>
            </p:cNvPr>
            <p:cNvGrpSpPr/>
            <p:nvPr/>
          </p:nvGrpSpPr>
          <p:grpSpPr>
            <a:xfrm>
              <a:off x="2489446" y="4421875"/>
              <a:ext cx="381656" cy="937525"/>
              <a:chOff x="542174" y="4421875"/>
              <a:chExt cx="381656" cy="937525"/>
            </a:xfrm>
          </p:grpSpPr>
          <p:cxnSp>
            <p:nvCxnSpPr>
              <p:cNvPr id="84" name="Straight Connector 83">
                <a:extLst>
                  <a:ext uri="{FF2B5EF4-FFF2-40B4-BE49-F238E27FC236}">
                    <a16:creationId xmlns:a16="http://schemas.microsoft.com/office/drawing/2014/main" id="{A2578DE5-D1C8-44E1-8E62-4B6232E411F8}"/>
                  </a:ext>
                </a:extLst>
              </p:cNvPr>
              <p:cNvCxnSpPr>
                <a:cxnSpLocks/>
              </p:cNvCxnSpPr>
              <p:nvPr/>
            </p:nvCxnSpPr>
            <p:spPr>
              <a:xfrm>
                <a:off x="542174" y="4421875"/>
                <a:ext cx="0" cy="937525"/>
              </a:xfrm>
              <a:prstGeom prst="line">
                <a:avLst/>
              </a:prstGeom>
              <a:ln w="38100" cap="rnd">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34B2CCF-D3EC-4404-8D11-0D5BC89402D3}"/>
                  </a:ext>
                </a:extLst>
              </p:cNvPr>
              <p:cNvCxnSpPr>
                <a:cxnSpLocks/>
              </p:cNvCxnSpPr>
              <p:nvPr/>
            </p:nvCxnSpPr>
            <p:spPr>
              <a:xfrm flipH="1">
                <a:off x="542175" y="5359400"/>
                <a:ext cx="381655" cy="0"/>
              </a:xfrm>
              <a:prstGeom prst="line">
                <a:avLst/>
              </a:prstGeom>
              <a:ln w="38100" cap="rnd">
                <a:solidFill>
                  <a:schemeClr val="accent4"/>
                </a:solidFill>
                <a:round/>
              </a:ln>
            </p:spPr>
            <p:style>
              <a:lnRef idx="1">
                <a:schemeClr val="accent1"/>
              </a:lnRef>
              <a:fillRef idx="0">
                <a:schemeClr val="accent1"/>
              </a:fillRef>
              <a:effectRef idx="0">
                <a:schemeClr val="accent1"/>
              </a:effectRef>
              <a:fontRef idx="minor">
                <a:schemeClr val="tx1"/>
              </a:fontRef>
            </p:style>
          </p:cxnSp>
        </p:grpSp>
        <p:sp>
          <p:nvSpPr>
            <p:cNvPr id="91" name="Text Placeholder 7">
              <a:extLst>
                <a:ext uri="{FF2B5EF4-FFF2-40B4-BE49-F238E27FC236}">
                  <a16:creationId xmlns:a16="http://schemas.microsoft.com/office/drawing/2014/main" id="{2692EDDA-3343-4CBF-926D-DC56D7808106}"/>
                </a:ext>
              </a:extLst>
            </p:cNvPr>
            <p:cNvSpPr txBox="1">
              <a:spLocks/>
            </p:cNvSpPr>
            <p:nvPr/>
          </p:nvSpPr>
          <p:spPr>
            <a:xfrm>
              <a:off x="384694" y="3163251"/>
              <a:ext cx="5109494" cy="301621"/>
            </a:xfrm>
            <a:prstGeom prst="rect">
              <a:avLst/>
            </a:prstGeom>
            <a:noFill/>
          </p:spPr>
          <p:txBody>
            <a:bodyPr wrap="square" tIns="27432" bIns="27432">
              <a:spAutoFit/>
            </a:bodyPr>
            <a:lstStyle>
              <a:lvl1pPr marL="0" indent="0" algn="l" rtl="0" eaLnBrk="1" fontAlgn="base" hangingPunct="1">
                <a:spcBef>
                  <a:spcPts val="0"/>
                </a:spcBef>
                <a:spcAft>
                  <a:spcPct val="0"/>
                </a:spcAft>
                <a:buFontTx/>
                <a:buNone/>
                <a:defRPr sz="2000" b="0" i="0" kern="1200">
                  <a:solidFill>
                    <a:schemeClr val="tx2"/>
                  </a:solidFill>
                  <a:latin typeface="+mj-lt"/>
                  <a:ea typeface="ＭＳ Ｐゴシック" charset="-128"/>
                  <a:cs typeface="+mn-cs"/>
                </a:defRPr>
              </a:lvl1pPr>
              <a:lvl2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2pPr>
              <a:lvl3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3pPr>
              <a:lvl4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4pPr>
              <a:lvl5pPr marL="0" indent="0" algn="l" rtl="0" eaLnBrk="1" fontAlgn="base" hangingPunct="1">
                <a:spcBef>
                  <a:spcPts val="0"/>
                </a:spcBef>
                <a:spcAft>
                  <a:spcPct val="0"/>
                </a:spcAft>
                <a:buFontTx/>
                <a:buNone/>
                <a:defRPr sz="1600" b="0" i="1" kern="1200">
                  <a:solidFill>
                    <a:schemeClr val="accent6"/>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chemeClr val="accent3"/>
                  </a:solidFill>
                  <a:effectLst/>
                  <a:uLnTx/>
                  <a:uFillTx/>
                  <a:latin typeface="Arial" panose="020B0604020202020204"/>
                  <a:ea typeface="ＭＳ Ｐゴシック" charset="-128"/>
                  <a:cs typeface="+mn-cs"/>
                </a:rPr>
                <a:t>Results</a:t>
              </a:r>
            </a:p>
          </p:txBody>
        </p:sp>
        <p:cxnSp>
          <p:nvCxnSpPr>
            <p:cNvPr id="95" name="Straight Connector 94">
              <a:extLst>
                <a:ext uri="{FF2B5EF4-FFF2-40B4-BE49-F238E27FC236}">
                  <a16:creationId xmlns:a16="http://schemas.microsoft.com/office/drawing/2014/main" id="{B4178DFC-6BE5-49F4-926C-1BF890DC5911}"/>
                </a:ext>
              </a:extLst>
            </p:cNvPr>
            <p:cNvCxnSpPr>
              <a:cxnSpLocks/>
            </p:cNvCxnSpPr>
            <p:nvPr/>
          </p:nvCxnSpPr>
          <p:spPr>
            <a:xfrm>
              <a:off x="424870" y="3518375"/>
              <a:ext cx="5671128" cy="0"/>
            </a:xfrm>
            <a:prstGeom prst="line">
              <a:avLst/>
            </a:prstGeom>
            <a:ln w="7620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00" name="Rectangle: Rounded Corners 99">
              <a:extLst>
                <a:ext uri="{FF2B5EF4-FFF2-40B4-BE49-F238E27FC236}">
                  <a16:creationId xmlns:a16="http://schemas.microsoft.com/office/drawing/2014/main" id="{3F1E0DF3-638F-40EC-9A84-FC539A13F27C}"/>
                </a:ext>
              </a:extLst>
            </p:cNvPr>
            <p:cNvSpPr/>
            <p:nvPr/>
          </p:nvSpPr>
          <p:spPr>
            <a:xfrm>
              <a:off x="560794" y="3747286"/>
              <a:ext cx="1542554" cy="806678"/>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bg1"/>
                  </a:solidFill>
                  <a:ea typeface="Calibri" panose="020F0502020204030204" pitchFamily="34" charset="0"/>
                  <a:cs typeface="Calibri" panose="020F0502020204030204" pitchFamily="34" charset="0"/>
                </a:rPr>
                <a:t>Reduction in particulate mater</a:t>
              </a:r>
            </a:p>
          </p:txBody>
        </p:sp>
        <p:sp>
          <p:nvSpPr>
            <p:cNvPr id="101" name="Rectangle: Rounded Corners 100">
              <a:extLst>
                <a:ext uri="{FF2B5EF4-FFF2-40B4-BE49-F238E27FC236}">
                  <a16:creationId xmlns:a16="http://schemas.microsoft.com/office/drawing/2014/main" id="{270EB8B4-1440-4CAD-9AFD-19476B85E10C}"/>
                </a:ext>
              </a:extLst>
            </p:cNvPr>
            <p:cNvSpPr/>
            <p:nvPr/>
          </p:nvSpPr>
          <p:spPr>
            <a:xfrm>
              <a:off x="2300694" y="3747286"/>
              <a:ext cx="1584606" cy="806678"/>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bg1"/>
                  </a:solidFill>
                  <a:ea typeface="Calibri" panose="020F0502020204030204" pitchFamily="34" charset="0"/>
                  <a:cs typeface="Calibri" panose="020F0502020204030204" pitchFamily="34" charset="0"/>
                </a:rPr>
                <a:t>Reduction in CO and NO2</a:t>
              </a:r>
            </a:p>
          </p:txBody>
        </p:sp>
        <p:sp>
          <p:nvSpPr>
            <p:cNvPr id="102" name="Rectangle: Rounded Corners 101">
              <a:extLst>
                <a:ext uri="{FF2B5EF4-FFF2-40B4-BE49-F238E27FC236}">
                  <a16:creationId xmlns:a16="http://schemas.microsoft.com/office/drawing/2014/main" id="{D637AC1B-62BB-4A95-B714-4B6DC8BA3931}"/>
                </a:ext>
              </a:extLst>
            </p:cNvPr>
            <p:cNvSpPr/>
            <p:nvPr/>
          </p:nvSpPr>
          <p:spPr>
            <a:xfrm>
              <a:off x="4017527" y="3747286"/>
              <a:ext cx="1679119" cy="806678"/>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b="1" dirty="0">
                  <a:solidFill>
                    <a:schemeClr val="bg1"/>
                  </a:solidFill>
                  <a:ea typeface="Calibri" panose="020F0502020204030204" pitchFamily="34" charset="0"/>
                  <a:cs typeface="Calibri" panose="020F0502020204030204" pitchFamily="34" charset="0"/>
                </a:rPr>
                <a:t>Reduction in premature deaths </a:t>
              </a:r>
            </a:p>
          </p:txBody>
        </p:sp>
        <p:grpSp>
          <p:nvGrpSpPr>
            <p:cNvPr id="103" name="Group 102">
              <a:extLst>
                <a:ext uri="{FF2B5EF4-FFF2-40B4-BE49-F238E27FC236}">
                  <a16:creationId xmlns:a16="http://schemas.microsoft.com/office/drawing/2014/main" id="{F5CC811D-A77B-4AF4-8E53-BC7BC7C8DADB}"/>
                </a:ext>
              </a:extLst>
            </p:cNvPr>
            <p:cNvGrpSpPr/>
            <p:nvPr/>
          </p:nvGrpSpPr>
          <p:grpSpPr>
            <a:xfrm>
              <a:off x="678099" y="4421875"/>
              <a:ext cx="381656" cy="937525"/>
              <a:chOff x="542174" y="4421875"/>
              <a:chExt cx="381656" cy="937525"/>
            </a:xfrm>
          </p:grpSpPr>
          <p:cxnSp>
            <p:nvCxnSpPr>
              <p:cNvPr id="104" name="Straight Connector 103">
                <a:extLst>
                  <a:ext uri="{FF2B5EF4-FFF2-40B4-BE49-F238E27FC236}">
                    <a16:creationId xmlns:a16="http://schemas.microsoft.com/office/drawing/2014/main" id="{E844878B-D58B-4FC0-9C42-C8C7D46DACC3}"/>
                  </a:ext>
                </a:extLst>
              </p:cNvPr>
              <p:cNvCxnSpPr>
                <a:cxnSpLocks/>
              </p:cNvCxnSpPr>
              <p:nvPr/>
            </p:nvCxnSpPr>
            <p:spPr>
              <a:xfrm>
                <a:off x="542174" y="4421875"/>
                <a:ext cx="0" cy="937525"/>
              </a:xfrm>
              <a:prstGeom prst="line">
                <a:avLst/>
              </a:prstGeom>
              <a:ln w="38100"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284CAE9-8BB9-4D06-955F-973A38B3E18D}"/>
                  </a:ext>
                </a:extLst>
              </p:cNvPr>
              <p:cNvCxnSpPr>
                <a:cxnSpLocks/>
              </p:cNvCxnSpPr>
              <p:nvPr/>
            </p:nvCxnSpPr>
            <p:spPr>
              <a:xfrm flipH="1">
                <a:off x="542175" y="5359400"/>
                <a:ext cx="381655" cy="0"/>
              </a:xfrm>
              <a:prstGeom prst="line">
                <a:avLst/>
              </a:prstGeom>
              <a:ln w="38100" cap="rnd">
                <a:solidFill>
                  <a:schemeClr val="accent3"/>
                </a:solidFill>
                <a:round/>
              </a:ln>
            </p:spPr>
            <p:style>
              <a:lnRef idx="1">
                <a:schemeClr val="accent1"/>
              </a:lnRef>
              <a:fillRef idx="0">
                <a:schemeClr val="accent1"/>
              </a:fillRef>
              <a:effectRef idx="0">
                <a:schemeClr val="accent1"/>
              </a:effectRef>
              <a:fontRef idx="minor">
                <a:schemeClr val="tx1"/>
              </a:fontRef>
            </p:style>
          </p:cxnSp>
        </p:grpSp>
        <p:sp>
          <p:nvSpPr>
            <p:cNvPr id="106" name="Rectangle: Rounded Corners 105">
              <a:extLst>
                <a:ext uri="{FF2B5EF4-FFF2-40B4-BE49-F238E27FC236}">
                  <a16:creationId xmlns:a16="http://schemas.microsoft.com/office/drawing/2014/main" id="{263F4A5D-6B9D-450F-A3BA-9106F8225864}"/>
                </a:ext>
              </a:extLst>
            </p:cNvPr>
            <p:cNvSpPr/>
            <p:nvPr/>
          </p:nvSpPr>
          <p:spPr>
            <a:xfrm>
              <a:off x="920058" y="4803650"/>
              <a:ext cx="1400298" cy="1096692"/>
            </a:xfrm>
            <a:prstGeom prst="round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GB" sz="1200" dirty="0">
                  <a:solidFill>
                    <a:srgbClr val="000000"/>
                  </a:solidFill>
                  <a:latin typeface="Arial" panose="020B0604020202020204" pitchFamily="34" charset="0"/>
                  <a:cs typeface="Arial" panose="020B0604020202020204" pitchFamily="34" charset="0"/>
                </a:rPr>
                <a:t>30-40% decline in Pm10 and 19% decline in PM2.5</a:t>
              </a:r>
            </a:p>
          </p:txBody>
        </p:sp>
        <p:sp>
          <p:nvSpPr>
            <p:cNvPr id="107" name="Rectangle: Rounded Corners 106">
              <a:extLst>
                <a:ext uri="{FF2B5EF4-FFF2-40B4-BE49-F238E27FC236}">
                  <a16:creationId xmlns:a16="http://schemas.microsoft.com/office/drawing/2014/main" id="{BFFBEA5E-C51E-47D1-AC3C-CAF8AC0F7CE4}"/>
                </a:ext>
              </a:extLst>
            </p:cNvPr>
            <p:cNvSpPr/>
            <p:nvPr/>
          </p:nvSpPr>
          <p:spPr>
            <a:xfrm>
              <a:off x="2680274" y="4803650"/>
              <a:ext cx="1400298" cy="1096692"/>
            </a:xfrm>
            <a:prstGeom prst="roundRect">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GB" sz="1200" dirty="0">
                  <a:solidFill>
                    <a:srgbClr val="000000"/>
                  </a:solidFill>
                  <a:latin typeface="Arial" panose="020B0604020202020204" pitchFamily="34" charset="0"/>
                  <a:cs typeface="Arial" panose="020B0604020202020204" pitchFamily="34" charset="0"/>
                </a:rPr>
                <a:t>16.9% decline in Co and 16.4% decline in NO2</a:t>
              </a:r>
            </a:p>
          </p:txBody>
        </p:sp>
        <p:grpSp>
          <p:nvGrpSpPr>
            <p:cNvPr id="108" name="Group 107">
              <a:extLst>
                <a:ext uri="{FF2B5EF4-FFF2-40B4-BE49-F238E27FC236}">
                  <a16:creationId xmlns:a16="http://schemas.microsoft.com/office/drawing/2014/main" id="{5F3ADBB3-BC6B-4449-9BC8-AABA982F95DA}"/>
                </a:ext>
              </a:extLst>
            </p:cNvPr>
            <p:cNvGrpSpPr/>
            <p:nvPr/>
          </p:nvGrpSpPr>
          <p:grpSpPr>
            <a:xfrm>
              <a:off x="4271399" y="4421875"/>
              <a:ext cx="381656" cy="937525"/>
              <a:chOff x="542174" y="4421875"/>
              <a:chExt cx="381656" cy="937525"/>
            </a:xfrm>
          </p:grpSpPr>
          <p:cxnSp>
            <p:nvCxnSpPr>
              <p:cNvPr id="109" name="Straight Connector 108">
                <a:extLst>
                  <a:ext uri="{FF2B5EF4-FFF2-40B4-BE49-F238E27FC236}">
                    <a16:creationId xmlns:a16="http://schemas.microsoft.com/office/drawing/2014/main" id="{389E2CF5-EB3E-45BE-A797-2EAD4222D0AC}"/>
                  </a:ext>
                </a:extLst>
              </p:cNvPr>
              <p:cNvCxnSpPr>
                <a:cxnSpLocks/>
              </p:cNvCxnSpPr>
              <p:nvPr/>
            </p:nvCxnSpPr>
            <p:spPr>
              <a:xfrm>
                <a:off x="542174" y="4421875"/>
                <a:ext cx="0" cy="937525"/>
              </a:xfrm>
              <a:prstGeom prst="line">
                <a:avLst/>
              </a:prstGeom>
              <a:ln w="38100" cap="rnd">
                <a:solidFill>
                  <a:schemeClr val="accent5"/>
                </a:solidFill>
                <a:round/>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12D9659A-859B-4AE1-A56F-A8A6E5333155}"/>
                  </a:ext>
                </a:extLst>
              </p:cNvPr>
              <p:cNvCxnSpPr>
                <a:cxnSpLocks/>
              </p:cNvCxnSpPr>
              <p:nvPr/>
            </p:nvCxnSpPr>
            <p:spPr>
              <a:xfrm flipH="1">
                <a:off x="542175" y="5359400"/>
                <a:ext cx="381655" cy="0"/>
              </a:xfrm>
              <a:prstGeom prst="line">
                <a:avLst/>
              </a:prstGeom>
              <a:ln w="38100" cap="rnd">
                <a:solidFill>
                  <a:schemeClr val="accent5"/>
                </a:solidFill>
                <a:round/>
              </a:ln>
            </p:spPr>
            <p:style>
              <a:lnRef idx="1">
                <a:schemeClr val="accent1"/>
              </a:lnRef>
              <a:fillRef idx="0">
                <a:schemeClr val="accent1"/>
              </a:fillRef>
              <a:effectRef idx="0">
                <a:schemeClr val="accent1"/>
              </a:effectRef>
              <a:fontRef idx="minor">
                <a:schemeClr val="tx1"/>
              </a:fontRef>
            </p:style>
          </p:cxnSp>
        </p:grpSp>
        <p:sp>
          <p:nvSpPr>
            <p:cNvPr id="111" name="Rectangle: Rounded Corners 110">
              <a:extLst>
                <a:ext uri="{FF2B5EF4-FFF2-40B4-BE49-F238E27FC236}">
                  <a16:creationId xmlns:a16="http://schemas.microsoft.com/office/drawing/2014/main" id="{6B703B6D-E6BF-424D-AEF7-04A6B2F12F41}"/>
                </a:ext>
              </a:extLst>
            </p:cNvPr>
            <p:cNvSpPr/>
            <p:nvPr/>
          </p:nvSpPr>
          <p:spPr>
            <a:xfrm>
              <a:off x="4462227" y="4803650"/>
              <a:ext cx="1400298" cy="1096692"/>
            </a:xfrm>
            <a:prstGeom prst="roundRect">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GB" sz="1100" dirty="0">
                  <a:solidFill>
                    <a:srgbClr val="000000"/>
                  </a:solidFill>
                  <a:latin typeface="Arial" panose="020B0604020202020204" pitchFamily="34" charset="0"/>
                  <a:cs typeface="Arial" panose="020B0604020202020204" pitchFamily="34" charset="0"/>
                </a:rPr>
                <a:t>Between 2006-2015, substantial reduction in mortality attributed to PM2.5 </a:t>
              </a:r>
            </a:p>
          </p:txBody>
        </p:sp>
      </p:grpSp>
    </p:spTree>
    <p:extLst>
      <p:ext uri="{BB962C8B-B14F-4D97-AF65-F5344CB8AC3E}">
        <p14:creationId xmlns:p14="http://schemas.microsoft.com/office/powerpoint/2010/main" val="3427211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68402-6BFC-0424-872C-AFC54FE16ABA}"/>
              </a:ext>
            </a:extLst>
          </p:cNvPr>
          <p:cNvSpPr>
            <a:spLocks noGrp="1"/>
          </p:cNvSpPr>
          <p:nvPr>
            <p:ph type="title"/>
          </p:nvPr>
        </p:nvSpPr>
        <p:spPr>
          <a:xfrm>
            <a:off x="838200" y="365126"/>
            <a:ext cx="10515600" cy="832304"/>
          </a:xfrm>
        </p:spPr>
        <p:txBody>
          <a:bodyPr/>
          <a:lstStyle/>
          <a:p>
            <a:pPr algn="ctr"/>
            <a:r>
              <a:rPr lang="en-IN" dirty="0"/>
              <a:t> </a:t>
            </a:r>
            <a:r>
              <a:rPr lang="en-IN" sz="4000" dirty="0">
                <a:latin typeface="Arial" panose="020B0604020202020204" pitchFamily="34" charset="0"/>
                <a:cs typeface="Arial" panose="020B0604020202020204" pitchFamily="34" charset="0"/>
              </a:rPr>
              <a:t>Discussion</a:t>
            </a:r>
            <a:endParaRPr lang="en-IN"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668CCFE9-1E72-12EA-4F00-BE735149310F}"/>
              </a:ext>
            </a:extLst>
          </p:cNvPr>
          <p:cNvSpPr>
            <a:spLocks noGrp="1"/>
          </p:cNvSpPr>
          <p:nvPr>
            <p:ph idx="1"/>
          </p:nvPr>
        </p:nvSpPr>
        <p:spPr>
          <a:xfrm>
            <a:off x="838200" y="1197430"/>
            <a:ext cx="10515600" cy="5472452"/>
          </a:xfrm>
        </p:spPr>
        <p:txBody>
          <a:bodyPr>
            <a:normAutofit/>
          </a:bodyPr>
          <a:lstStyle/>
          <a:p>
            <a:pPr algn="just">
              <a:lnSpc>
                <a:spcPct val="150000"/>
              </a:lnSpc>
            </a:pPr>
            <a:r>
              <a:rPr lang="en-US" sz="1600" dirty="0">
                <a:latin typeface="Arial" panose="020B0604020202020204" pitchFamily="34" charset="0"/>
                <a:cs typeface="Arial" panose="020B0604020202020204" pitchFamily="34" charset="0"/>
              </a:rPr>
              <a:t>The NCAP is a comprehensive initiative that adopts a multi-pronged approach, targeting various sources of air pollution. It encompasses a wide range of strategies, including stringent emission norms, promotion of clean technologies, and public awareness campaigns.</a:t>
            </a:r>
          </a:p>
          <a:p>
            <a:pPr algn="just">
              <a:lnSpc>
                <a:spcPct val="150000"/>
              </a:lnSpc>
            </a:pPr>
            <a:r>
              <a:rPr lang="en-US" sz="1600" dirty="0">
                <a:latin typeface="Arial" panose="020B0604020202020204" pitchFamily="34" charset="0"/>
                <a:cs typeface="Arial" panose="020B0604020202020204" pitchFamily="34" charset="0"/>
              </a:rPr>
              <a:t>However, the study revealed some hindrances that Delhi needs to address in order to achieve the targets set under the National Clean Air Programme (NCAP). </a:t>
            </a:r>
          </a:p>
          <a:p>
            <a:pPr algn="just">
              <a:lnSpc>
                <a:spcPct val="150000"/>
              </a:lnSpc>
            </a:pPr>
            <a:r>
              <a:rPr lang="en-US" sz="1600" dirty="0">
                <a:latin typeface="Arial" panose="020B0604020202020204" pitchFamily="34" charset="0"/>
                <a:cs typeface="Arial" panose="020B0604020202020204" pitchFamily="34" charset="0"/>
              </a:rPr>
              <a:t>Beijing and Seoul, previously grappling with severe air pollution, have successfully improved their air quality through strategic measures targeting emissions from multiple sources, serving as examples for other polluted cities.  The factors hindering the target achievement of Delhi are seen already mitigated in these countries, which can be a major learning for Delhi.</a:t>
            </a:r>
          </a:p>
          <a:p>
            <a:pPr algn="just">
              <a:lnSpc>
                <a:spcPct val="150000"/>
              </a:lnSpc>
            </a:pPr>
            <a:r>
              <a:rPr lang="en-US" sz="1600" dirty="0">
                <a:latin typeface="Arial" panose="020B0604020202020204" pitchFamily="34" charset="0"/>
                <a:cs typeface="Arial" panose="020B0604020202020204" pitchFamily="34" charset="0"/>
              </a:rPr>
              <a:t>Air quality management is a regional issue. Hence , collaboration and joint support of the regional areas is a necessity for the program to be effective.</a:t>
            </a:r>
          </a:p>
          <a:p>
            <a:pPr algn="just">
              <a:lnSpc>
                <a:spcPct val="150000"/>
              </a:lnSpc>
            </a:pPr>
            <a:r>
              <a:rPr lang="en-US" sz="1600" dirty="0">
                <a:latin typeface="Arial" panose="020B0604020202020204" pitchFamily="34" charset="0"/>
                <a:cs typeface="Arial" panose="020B0604020202020204" pitchFamily="34" charset="0"/>
              </a:rPr>
              <a:t>This study can be continued further by studying and introducing new age concepts like how artificial intelligence can be incorporated to reduce </a:t>
            </a:r>
            <a:r>
              <a:rPr lang="en-US" sz="1600">
                <a:latin typeface="Arial" panose="020B0604020202020204" pitchFamily="34" charset="0"/>
                <a:cs typeface="Arial" panose="020B0604020202020204" pitchFamily="34" charset="0"/>
              </a:rPr>
              <a:t>air pollution. </a:t>
            </a:r>
            <a:endParaRPr lang="en-US" sz="1600" dirty="0">
              <a:latin typeface="Arial" panose="020B0604020202020204" pitchFamily="34" charset="0"/>
              <a:cs typeface="Arial" panose="020B0604020202020204" pitchFamily="34" charset="0"/>
            </a:endParaRPr>
          </a:p>
          <a:p>
            <a:pPr algn="just">
              <a:lnSpc>
                <a:spcPct val="150000"/>
              </a:lnSpc>
            </a:pPr>
            <a:endParaRPr lang="en-US" sz="1600" dirty="0">
              <a:latin typeface="Arial" panose="020B0604020202020204" pitchFamily="34" charset="0"/>
              <a:cs typeface="Arial" panose="020B0604020202020204" pitchFamily="34" charset="0"/>
            </a:endParaRPr>
          </a:p>
          <a:p>
            <a:pPr algn="just">
              <a:lnSpc>
                <a:spcPct val="150000"/>
              </a:lnSpc>
            </a:pPr>
            <a:endParaRPr lang="en-IN"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74774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5C4CA-F915-2F41-9B82-F3E2C89A5111}"/>
              </a:ext>
            </a:extLst>
          </p:cNvPr>
          <p:cNvSpPr>
            <a:spLocks noGrp="1"/>
          </p:cNvSpPr>
          <p:nvPr>
            <p:ph type="title" idx="4294967295"/>
          </p:nvPr>
        </p:nvSpPr>
        <p:spPr>
          <a:xfrm>
            <a:off x="384694" y="294468"/>
            <a:ext cx="11338560" cy="768263"/>
          </a:xfrm>
        </p:spPr>
        <p:txBody>
          <a:bodyPr>
            <a:normAutofit/>
          </a:bodyPr>
          <a:lstStyle/>
          <a:p>
            <a:pPr algn="ctr"/>
            <a:r>
              <a:rPr lang="en-US" sz="4000" b="0" dirty="0">
                <a:latin typeface="Arial" panose="020B0604020202020204" pitchFamily="34" charset="0"/>
                <a:cs typeface="Arial" panose="020B0604020202020204" pitchFamily="34" charset="0"/>
              </a:rPr>
              <a:t>Recommendations</a:t>
            </a:r>
          </a:p>
        </p:txBody>
      </p:sp>
      <p:grpSp>
        <p:nvGrpSpPr>
          <p:cNvPr id="12" name="Group 11">
            <a:extLst>
              <a:ext uri="{FF2B5EF4-FFF2-40B4-BE49-F238E27FC236}">
                <a16:creationId xmlns:a16="http://schemas.microsoft.com/office/drawing/2014/main" id="{23708670-3215-E504-5DB2-93D3262AC797}"/>
              </a:ext>
            </a:extLst>
          </p:cNvPr>
          <p:cNvGrpSpPr/>
          <p:nvPr/>
        </p:nvGrpSpPr>
        <p:grpSpPr>
          <a:xfrm>
            <a:off x="6504" y="973066"/>
            <a:ext cx="5867915" cy="5884934"/>
            <a:chOff x="322723" y="1748042"/>
            <a:chExt cx="1803090" cy="6479373"/>
          </a:xfrm>
        </p:grpSpPr>
        <p:sp>
          <p:nvSpPr>
            <p:cNvPr id="83" name="Rectangle: Rounded Corners 6">
              <a:extLst>
                <a:ext uri="{FF2B5EF4-FFF2-40B4-BE49-F238E27FC236}">
                  <a16:creationId xmlns:a16="http://schemas.microsoft.com/office/drawing/2014/main" id="{ED40C848-E596-C640-A5D3-DE46F74CA6F8}"/>
                </a:ext>
              </a:extLst>
            </p:cNvPr>
            <p:cNvSpPr/>
            <p:nvPr/>
          </p:nvSpPr>
          <p:spPr>
            <a:xfrm>
              <a:off x="322723" y="2609492"/>
              <a:ext cx="1803090" cy="5617923"/>
            </a:xfrm>
            <a:prstGeom prst="roundRect">
              <a:avLst>
                <a:gd name="adj" fmla="val 8603"/>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0" lvl="1" algn="ctr">
                <a:spcAft>
                  <a:spcPts val="1200"/>
                </a:spcAft>
              </a:pPr>
              <a:r>
                <a:rPr lang="en-US" sz="2400" b="1" dirty="0">
                  <a:solidFill>
                    <a:schemeClr val="accent1"/>
                  </a:solidFill>
                  <a:latin typeface="+mj-lt"/>
                  <a:ea typeface="Calibri" panose="020F0502020204030204" pitchFamily="34" charset="0"/>
                  <a:cs typeface="Calibri" panose="020F0502020204030204" pitchFamily="34" charset="0"/>
                </a:rPr>
                <a:t>Adequate </a:t>
              </a:r>
              <a:r>
                <a:rPr lang="en-US" sz="2400" b="1" dirty="0" err="1">
                  <a:solidFill>
                    <a:schemeClr val="accent1"/>
                  </a:solidFill>
                  <a:latin typeface="+mj-lt"/>
                  <a:ea typeface="Calibri" panose="020F0502020204030204" pitchFamily="34" charset="0"/>
                  <a:cs typeface="Calibri" panose="020F0502020204030204" pitchFamily="34" charset="0"/>
                </a:rPr>
                <a:t>utlisation</a:t>
              </a:r>
              <a:r>
                <a:rPr lang="en-US" sz="2400" b="1" dirty="0">
                  <a:solidFill>
                    <a:schemeClr val="accent1"/>
                  </a:solidFill>
                  <a:latin typeface="+mj-lt"/>
                  <a:ea typeface="Calibri" panose="020F0502020204030204" pitchFamily="34" charset="0"/>
                  <a:cs typeface="Calibri" panose="020F0502020204030204" pitchFamily="34" charset="0"/>
                </a:rPr>
                <a:t> of allocated fund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Mandating the utilization of a certain minimum percentage of the allocated funds within a given financial year, promoting timely and efficient spending.</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Dividing the annual fund allocation into quarterly instalments, encouraging a consistent and systematic approach to fund utilization throughout the year.</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Dedicating a specific portion of the allocated funds solely for the maintenance and upkeep of previously implemented measures, ensuring the long-term sustainability and effectiveness of existing pollution control initiative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Continuous monitoring and evaluation of the effectiveness of the utilized funds should be undertaken, accompanied by a comprehensive assessment and identification of emerging issues that necessitate the implementation of new measures to address air pollution effectively.</a:t>
              </a:r>
            </a:p>
            <a:p>
              <a:pPr>
                <a:spcAft>
                  <a:spcPts val="600"/>
                </a:spcAft>
              </a:pPr>
              <a:endParaRPr lang="en-US" sz="1100" dirty="0">
                <a:solidFill>
                  <a:srgbClr val="000000"/>
                </a:solidFill>
                <a:ea typeface="Calibri" panose="020F0502020204030204" pitchFamily="34" charset="0"/>
                <a:cs typeface="Calibri" panose="020F0502020204030204" pitchFamily="34" charset="0"/>
              </a:endParaRPr>
            </a:p>
          </p:txBody>
        </p:sp>
        <p:sp>
          <p:nvSpPr>
            <p:cNvPr id="84" name="Oval 83">
              <a:extLst>
                <a:ext uri="{FF2B5EF4-FFF2-40B4-BE49-F238E27FC236}">
                  <a16:creationId xmlns:a16="http://schemas.microsoft.com/office/drawing/2014/main" id="{391328F1-0ADF-AF47-B0F9-6A43C38822F4}"/>
                </a:ext>
              </a:extLst>
            </p:cNvPr>
            <p:cNvSpPr/>
            <p:nvPr/>
          </p:nvSpPr>
          <p:spPr>
            <a:xfrm>
              <a:off x="1050684" y="1748042"/>
              <a:ext cx="298461" cy="85857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5" name="Graphic 4" descr="Rupee with solid fill">
              <a:extLst>
                <a:ext uri="{FF2B5EF4-FFF2-40B4-BE49-F238E27FC236}">
                  <a16:creationId xmlns:a16="http://schemas.microsoft.com/office/drawing/2014/main" id="{9F1CF3CD-056C-338C-4F16-3A46A7255E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5416" y="1991794"/>
              <a:ext cx="188997" cy="441086"/>
            </a:xfrm>
            <a:prstGeom prst="rect">
              <a:avLst/>
            </a:prstGeom>
          </p:spPr>
        </p:pic>
      </p:grpSp>
      <p:grpSp>
        <p:nvGrpSpPr>
          <p:cNvPr id="11" name="Group 10">
            <a:extLst>
              <a:ext uri="{FF2B5EF4-FFF2-40B4-BE49-F238E27FC236}">
                <a16:creationId xmlns:a16="http://schemas.microsoft.com/office/drawing/2014/main" id="{97688812-7D9E-C04E-CB56-5348254D8A16}"/>
              </a:ext>
            </a:extLst>
          </p:cNvPr>
          <p:cNvGrpSpPr/>
          <p:nvPr/>
        </p:nvGrpSpPr>
        <p:grpSpPr>
          <a:xfrm>
            <a:off x="6053974" y="973066"/>
            <a:ext cx="6131522" cy="5884935"/>
            <a:chOff x="6811638" y="2147431"/>
            <a:chExt cx="3320938" cy="4963188"/>
          </a:xfrm>
        </p:grpSpPr>
        <p:sp>
          <p:nvSpPr>
            <p:cNvPr id="131" name="Rectangle: Rounded Corners 6">
              <a:extLst>
                <a:ext uri="{FF2B5EF4-FFF2-40B4-BE49-F238E27FC236}">
                  <a16:creationId xmlns:a16="http://schemas.microsoft.com/office/drawing/2014/main" id="{3C597D73-B2FC-254F-9072-995988F55039}"/>
                </a:ext>
              </a:extLst>
            </p:cNvPr>
            <p:cNvSpPr/>
            <p:nvPr/>
          </p:nvSpPr>
          <p:spPr>
            <a:xfrm>
              <a:off x="6811638" y="2790115"/>
              <a:ext cx="3320938" cy="4320504"/>
            </a:xfrm>
            <a:prstGeom prst="roundRect">
              <a:avLst>
                <a:gd name="adj" fmla="val 8603"/>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0" lvl="1" algn="ctr">
                <a:spcAft>
                  <a:spcPts val="1200"/>
                </a:spcAft>
              </a:pPr>
              <a:r>
                <a:rPr lang="en-US" sz="2400" b="1" dirty="0">
                  <a:solidFill>
                    <a:schemeClr val="accent2"/>
                  </a:solidFill>
                  <a:latin typeface="+mj-lt"/>
                  <a:ea typeface="Calibri" panose="020F0502020204030204" pitchFamily="34" charset="0"/>
                  <a:cs typeface="Calibri" panose="020F0502020204030204" pitchFamily="34" charset="0"/>
                </a:rPr>
                <a:t>Meteorological and geographical factor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Introducing high smog towers and vertical forests can help in reducing pollution levels by acting as air purifiers and green lungs within the city. </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Increasing the number of Air Quality Index (AQI) monitoring stations, akin to Beijing's extensive network of 1000 stations, would enhance real-time data collection for better decision-making.</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Incorporating artificial intelligence (AI) for early prediction and management of high smog or bad air quality days can enable proactive measures.  </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scaling up afforestation projects would not only increase oxygen production but also stabilize soil, thereby reducing dust in the air. </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Additionally, accelerating trials of cloud seeding and cloud bursting techniques could offer potential solutions to mitigate severe air pollution episodes.</a:t>
              </a:r>
            </a:p>
            <a:p>
              <a:pPr>
                <a:spcAft>
                  <a:spcPts val="600"/>
                </a:spcAft>
              </a:pPr>
              <a:endParaRPr lang="en-US" sz="1100" dirty="0">
                <a:solidFill>
                  <a:srgbClr val="000000"/>
                </a:solidFill>
                <a:ea typeface="Calibri" panose="020F0502020204030204" pitchFamily="34" charset="0"/>
                <a:cs typeface="Calibri" panose="020F0502020204030204" pitchFamily="34" charset="0"/>
              </a:endParaRPr>
            </a:p>
          </p:txBody>
        </p:sp>
        <p:sp>
          <p:nvSpPr>
            <p:cNvPr id="132" name="Oval 131">
              <a:extLst>
                <a:ext uri="{FF2B5EF4-FFF2-40B4-BE49-F238E27FC236}">
                  <a16:creationId xmlns:a16="http://schemas.microsoft.com/office/drawing/2014/main" id="{05A34F9F-2053-F04F-B55C-7D29D97398D6}"/>
                </a:ext>
              </a:extLst>
            </p:cNvPr>
            <p:cNvSpPr/>
            <p:nvPr/>
          </p:nvSpPr>
          <p:spPr>
            <a:xfrm>
              <a:off x="8100509" y="2147431"/>
              <a:ext cx="541085" cy="62364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9" name="Graphic 8" descr="Mountains with solid fill">
              <a:extLst>
                <a:ext uri="{FF2B5EF4-FFF2-40B4-BE49-F238E27FC236}">
                  <a16:creationId xmlns:a16="http://schemas.microsoft.com/office/drawing/2014/main" id="{759B38E3-3E79-BE17-BF3D-3FC104B31F8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56522" y="2223084"/>
              <a:ext cx="429058" cy="429058"/>
            </a:xfrm>
            <a:prstGeom prst="rect">
              <a:avLst/>
            </a:prstGeom>
          </p:spPr>
        </p:pic>
      </p:grpSp>
    </p:spTree>
    <p:extLst>
      <p:ext uri="{BB962C8B-B14F-4D97-AF65-F5344CB8AC3E}">
        <p14:creationId xmlns:p14="http://schemas.microsoft.com/office/powerpoint/2010/main" val="163382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05D97C0-2273-E8E9-0851-6A8105ECFA16}"/>
              </a:ext>
            </a:extLst>
          </p:cNvPr>
          <p:cNvGrpSpPr/>
          <p:nvPr/>
        </p:nvGrpSpPr>
        <p:grpSpPr>
          <a:xfrm>
            <a:off x="5834743" y="903514"/>
            <a:ext cx="5725886" cy="5562600"/>
            <a:chOff x="8001877" y="1419988"/>
            <a:chExt cx="3538847" cy="4496466"/>
          </a:xfrm>
        </p:grpSpPr>
        <p:sp>
          <p:nvSpPr>
            <p:cNvPr id="5" name="Rectangle: Rounded Corners 6">
              <a:extLst>
                <a:ext uri="{FF2B5EF4-FFF2-40B4-BE49-F238E27FC236}">
                  <a16:creationId xmlns:a16="http://schemas.microsoft.com/office/drawing/2014/main" id="{44CEEA6D-409D-94E8-CCCE-29E612CE6235}"/>
                </a:ext>
              </a:extLst>
            </p:cNvPr>
            <p:cNvSpPr/>
            <p:nvPr/>
          </p:nvSpPr>
          <p:spPr>
            <a:xfrm>
              <a:off x="8324600" y="1942229"/>
              <a:ext cx="3216124" cy="3974225"/>
            </a:xfrm>
            <a:prstGeom prst="roundRect">
              <a:avLst>
                <a:gd name="adj" fmla="val 8603"/>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0" lvl="1" algn="ctr">
                <a:spcAft>
                  <a:spcPts val="1200"/>
                </a:spcAft>
              </a:pPr>
              <a:endParaRPr lang="en-US" sz="2400" b="1" dirty="0">
                <a:solidFill>
                  <a:schemeClr val="accent5"/>
                </a:solidFill>
                <a:latin typeface="+mj-lt"/>
                <a:ea typeface="Calibri" panose="020F0502020204030204" pitchFamily="34" charset="0"/>
                <a:cs typeface="Calibri" panose="020F0502020204030204" pitchFamily="34" charset="0"/>
              </a:endParaRPr>
            </a:p>
            <a:p>
              <a:pPr marL="0" lvl="1" algn="ctr">
                <a:spcAft>
                  <a:spcPts val="1200"/>
                </a:spcAft>
              </a:pPr>
              <a:r>
                <a:rPr lang="en-US" sz="2400" b="1" dirty="0">
                  <a:solidFill>
                    <a:schemeClr val="accent5"/>
                  </a:solidFill>
                  <a:latin typeface="+mj-lt"/>
                  <a:ea typeface="Calibri" panose="020F0502020204030204" pitchFamily="34" charset="0"/>
                  <a:cs typeface="Calibri" panose="020F0502020204030204" pitchFamily="34" charset="0"/>
                </a:rPr>
                <a:t>Public awareness and participation</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Promoting car sharing and offering incentives for public transport usage.</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Raising awareness about economic and environmentally friendly driving practice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Encouraging reduction of car idling to minimize emission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Providing incentives for scrapping old vehicles and promoting the use of clean fuel vehicle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Educating residents about eco-friendly methods of stubble clearing and offering incentives for their adoption.</a:t>
              </a:r>
            </a:p>
            <a:p>
              <a:pPr>
                <a:spcAft>
                  <a:spcPts val="600"/>
                </a:spcAft>
              </a:pPr>
              <a:endParaRPr lang="en-US" sz="1100" dirty="0">
                <a:solidFill>
                  <a:srgbClr val="000000"/>
                </a:solidFill>
                <a:ea typeface="Calibri" panose="020F0502020204030204" pitchFamily="34" charset="0"/>
                <a:cs typeface="Calibri" panose="020F0502020204030204" pitchFamily="34" charset="0"/>
              </a:endParaRPr>
            </a:p>
          </p:txBody>
        </p:sp>
        <p:sp>
          <p:nvSpPr>
            <p:cNvPr id="6" name="Oval 5">
              <a:extLst>
                <a:ext uri="{FF2B5EF4-FFF2-40B4-BE49-F238E27FC236}">
                  <a16:creationId xmlns:a16="http://schemas.microsoft.com/office/drawing/2014/main" id="{70209BF0-6F05-7D11-3F8A-6270398D8562}"/>
                </a:ext>
              </a:extLst>
            </p:cNvPr>
            <p:cNvSpPr/>
            <p:nvPr/>
          </p:nvSpPr>
          <p:spPr>
            <a:xfrm>
              <a:off x="8001877" y="1419988"/>
              <a:ext cx="766974" cy="990703"/>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grpSp>
      <p:pic>
        <p:nvPicPr>
          <p:cNvPr id="8" name="Graphic 7" descr="Group success with solid fill">
            <a:extLst>
              <a:ext uri="{FF2B5EF4-FFF2-40B4-BE49-F238E27FC236}">
                <a16:creationId xmlns:a16="http://schemas.microsoft.com/office/drawing/2014/main" id="{637AD90F-1EC7-6C3B-CBB2-C09986AAA8A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98028" y="1092381"/>
            <a:ext cx="914400" cy="914400"/>
          </a:xfrm>
          <a:prstGeom prst="rect">
            <a:avLst/>
          </a:prstGeom>
        </p:spPr>
      </p:pic>
      <p:grpSp>
        <p:nvGrpSpPr>
          <p:cNvPr id="9" name="Group 8">
            <a:extLst>
              <a:ext uri="{FF2B5EF4-FFF2-40B4-BE49-F238E27FC236}">
                <a16:creationId xmlns:a16="http://schemas.microsoft.com/office/drawing/2014/main" id="{3BAAEC2B-0097-BE61-44CF-585A75B476E7}"/>
              </a:ext>
            </a:extLst>
          </p:cNvPr>
          <p:cNvGrpSpPr/>
          <p:nvPr/>
        </p:nvGrpSpPr>
        <p:grpSpPr>
          <a:xfrm>
            <a:off x="469531" y="990600"/>
            <a:ext cx="5016869" cy="5475514"/>
            <a:chOff x="7425502" y="1430510"/>
            <a:chExt cx="5016869" cy="5078410"/>
          </a:xfrm>
        </p:grpSpPr>
        <p:sp>
          <p:nvSpPr>
            <p:cNvPr id="10" name="Rectangle: Rounded Corners 6">
              <a:extLst>
                <a:ext uri="{FF2B5EF4-FFF2-40B4-BE49-F238E27FC236}">
                  <a16:creationId xmlns:a16="http://schemas.microsoft.com/office/drawing/2014/main" id="{1BE2A5D1-647D-8197-B0DC-78D88048DFC8}"/>
                </a:ext>
              </a:extLst>
            </p:cNvPr>
            <p:cNvSpPr/>
            <p:nvPr/>
          </p:nvSpPr>
          <p:spPr>
            <a:xfrm>
              <a:off x="7815943" y="1838949"/>
              <a:ext cx="4626428" cy="4669971"/>
            </a:xfrm>
            <a:prstGeom prst="roundRect">
              <a:avLst>
                <a:gd name="adj" fmla="val 8603"/>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0" lvl="1" algn="ctr">
                <a:spcAft>
                  <a:spcPts val="1200"/>
                </a:spcAft>
              </a:pPr>
              <a:endParaRPr lang="en-US" sz="2400" b="1" dirty="0">
                <a:solidFill>
                  <a:schemeClr val="accent5"/>
                </a:solidFill>
                <a:latin typeface="+mj-lt"/>
                <a:ea typeface="Calibri" panose="020F0502020204030204" pitchFamily="34" charset="0"/>
                <a:cs typeface="Calibri" panose="020F0502020204030204" pitchFamily="34" charset="0"/>
              </a:endParaRPr>
            </a:p>
            <a:p>
              <a:pPr marL="0" lvl="1" algn="ctr">
                <a:spcAft>
                  <a:spcPts val="1200"/>
                </a:spcAft>
              </a:pPr>
              <a:r>
                <a:rPr lang="en-US" sz="2400" b="1" dirty="0">
                  <a:solidFill>
                    <a:schemeClr val="accent5"/>
                  </a:solidFill>
                  <a:latin typeface="+mj-lt"/>
                  <a:ea typeface="Calibri" panose="020F0502020204030204" pitchFamily="34" charset="0"/>
                  <a:cs typeface="Calibri" panose="020F0502020204030204" pitchFamily="34" charset="0"/>
                </a:rPr>
                <a:t>Cross border coordination</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Establishing a collaborative committee with authorities from Delhi and the three surrounding state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Developing unified planning and policies applicable across all neighboring region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Creating a common portal for sharing data and providing technical and financial support.</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Implementing joint responses to heavy pollution episode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Coordinating efforts to control vehicle pollution, including joint inspections and penalties for violations outside the vehicle's registered city.</a:t>
              </a:r>
            </a:p>
            <a:p>
              <a:pPr>
                <a:spcAft>
                  <a:spcPts val="600"/>
                </a:spcAft>
              </a:pPr>
              <a:endParaRPr lang="en-US" sz="1100" dirty="0">
                <a:solidFill>
                  <a:srgbClr val="000000"/>
                </a:solidFill>
                <a:ea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3A866F0A-B2D2-E50E-E37A-7844414A8C15}"/>
                </a:ext>
              </a:extLst>
            </p:cNvPr>
            <p:cNvSpPr/>
            <p:nvPr/>
          </p:nvSpPr>
          <p:spPr>
            <a:xfrm>
              <a:off x="7425502" y="1430510"/>
              <a:ext cx="1099457" cy="1141658"/>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pic>
          <p:nvPicPr>
            <p:cNvPr id="12" name="Graphic 11" descr="Cheers with solid fill">
              <a:extLst>
                <a:ext uri="{FF2B5EF4-FFF2-40B4-BE49-F238E27FC236}">
                  <a16:creationId xmlns:a16="http://schemas.microsoft.com/office/drawing/2014/main" id="{DFE13E79-FCD7-D440-93E8-08A9043AC4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15107" y="1641215"/>
              <a:ext cx="720248" cy="720248"/>
            </a:xfrm>
            <a:prstGeom prst="rect">
              <a:avLst/>
            </a:prstGeom>
          </p:spPr>
        </p:pic>
      </p:grpSp>
    </p:spTree>
    <p:extLst>
      <p:ext uri="{BB962C8B-B14F-4D97-AF65-F5344CB8AC3E}">
        <p14:creationId xmlns:p14="http://schemas.microsoft.com/office/powerpoint/2010/main" val="2355820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F3061E-ABE9-0F83-511D-4BFFC4A9D9A3}"/>
              </a:ext>
            </a:extLst>
          </p:cNvPr>
          <p:cNvGrpSpPr/>
          <p:nvPr/>
        </p:nvGrpSpPr>
        <p:grpSpPr>
          <a:xfrm>
            <a:off x="1126672" y="435430"/>
            <a:ext cx="9938657" cy="6204856"/>
            <a:chOff x="427512" y="1327160"/>
            <a:chExt cx="4728214" cy="4833855"/>
          </a:xfrm>
        </p:grpSpPr>
        <p:sp>
          <p:nvSpPr>
            <p:cNvPr id="83" name="Rectangle: Rounded Corners 6">
              <a:extLst>
                <a:ext uri="{FF2B5EF4-FFF2-40B4-BE49-F238E27FC236}">
                  <a16:creationId xmlns:a16="http://schemas.microsoft.com/office/drawing/2014/main" id="{ED40C848-E596-C640-A5D3-DE46F74CA6F8}"/>
                </a:ext>
              </a:extLst>
            </p:cNvPr>
            <p:cNvSpPr/>
            <p:nvPr/>
          </p:nvSpPr>
          <p:spPr>
            <a:xfrm>
              <a:off x="707222" y="1938023"/>
              <a:ext cx="4448504" cy="4222992"/>
            </a:xfrm>
            <a:prstGeom prst="roundRect">
              <a:avLst>
                <a:gd name="adj" fmla="val 8603"/>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0" lvl="1" algn="ctr">
                <a:spcAft>
                  <a:spcPts val="1200"/>
                </a:spcAft>
              </a:pPr>
              <a:r>
                <a:rPr lang="en-US" b="1" dirty="0">
                  <a:solidFill>
                    <a:schemeClr val="accent1"/>
                  </a:solidFill>
                  <a:latin typeface="Arial" panose="020B0604020202020204" pitchFamily="34" charset="0"/>
                  <a:ea typeface="Calibri" panose="020F0502020204030204" pitchFamily="34" charset="0"/>
                  <a:cs typeface="Arial" panose="020B0604020202020204" pitchFamily="34" charset="0"/>
                </a:rPr>
                <a:t>Sustainability and optimization of infrastructure and vehicles</a:t>
              </a:r>
            </a:p>
            <a:p>
              <a:pPr>
                <a:spcAft>
                  <a:spcPts val="600"/>
                </a:spcAft>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1.Infrastructure optimization: </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Dust-free roads through regular cleaning and maintenance. </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Replacing gravel roads by concrete</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Pressure washing of roads</a:t>
              </a:r>
            </a:p>
            <a:p>
              <a:pPr marL="285750" indent="-285750">
                <a:spcAft>
                  <a:spcPts val="600"/>
                </a:spcAft>
                <a:buFont typeface="Wingdings" panose="05000000000000000000" pitchFamily="2" charset="2"/>
                <a:buChar char="Ø"/>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Expansion of public transport fleet and metro rail routes to encourage modal shift.</a:t>
              </a:r>
            </a:p>
            <a:p>
              <a:pPr>
                <a:spcAft>
                  <a:spcPts val="600"/>
                </a:spcAft>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2.Strict Regulations: </a:t>
              </a:r>
            </a:p>
            <a:p>
              <a:pPr marL="285750" indent="-285750">
                <a:spcAft>
                  <a:spcPts val="600"/>
                </a:spcAft>
                <a:buFont typeface="Arial" panose="020B0604020202020204" pitchFamily="34" charset="0"/>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Stringent regulations against construction and demolition activities to mitigate dust emissions.</a:t>
              </a:r>
            </a:p>
            <a:p>
              <a:pPr marL="285750" indent="-285750">
                <a:spcAft>
                  <a:spcPts val="600"/>
                </a:spcAft>
                <a:buFont typeface="Arial" panose="020B0604020202020204" pitchFamily="34" charset="0"/>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Strict emission standards and periodic checks for pollution-causing vehicles.</a:t>
              </a:r>
            </a:p>
            <a:p>
              <a:pPr marL="285750" indent="-285750">
                <a:spcAft>
                  <a:spcPts val="600"/>
                </a:spcAft>
                <a:buFont typeface="Arial" panose="020B0604020202020204" pitchFamily="34" charset="0"/>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Implementation of low-emission zones and vehicle restrictions in highly polluted areas.</a:t>
              </a:r>
            </a:p>
            <a:p>
              <a:pPr>
                <a:spcAft>
                  <a:spcPts val="600"/>
                </a:spcAft>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3.Sustainable Transportation: </a:t>
              </a:r>
            </a:p>
            <a:p>
              <a:pPr marL="285750" indent="-285750">
                <a:spcAft>
                  <a:spcPts val="600"/>
                </a:spcAft>
                <a:buFont typeface="Arial" panose="020B0604020202020204" pitchFamily="34" charset="0"/>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Incentives for the adoption of electric vehicles and promotion of shared mobility services.</a:t>
              </a:r>
            </a:p>
            <a:p>
              <a:pPr marL="285750" indent="-285750">
                <a:spcAft>
                  <a:spcPts val="600"/>
                </a:spcAft>
                <a:buFont typeface="Arial" panose="020B0604020202020204" pitchFamily="34" charset="0"/>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Development of dedicated cycling infrastructure and pedestrian-friendly zones.</a:t>
              </a:r>
            </a:p>
            <a:p>
              <a:pPr marL="285750" indent="-285750">
                <a:spcAft>
                  <a:spcPts val="600"/>
                </a:spcAft>
                <a:buFont typeface="Arial" panose="020B0604020202020204" pitchFamily="34" charset="0"/>
                <a:buChar char="•"/>
              </a:pPr>
              <a:r>
                <a:rPr lang="en-US" sz="1600" dirty="0">
                  <a:solidFill>
                    <a:srgbClr val="000000"/>
                  </a:solidFill>
                  <a:latin typeface="Arial" panose="020B0604020202020204" pitchFamily="34" charset="0"/>
                  <a:ea typeface="Calibri" panose="020F0502020204030204" pitchFamily="34" charset="0"/>
                  <a:cs typeface="Arial" panose="020B0604020202020204" pitchFamily="34" charset="0"/>
                </a:rPr>
                <a:t>Expansion of public transport infrastructure powered by renewable energy.</a:t>
              </a:r>
            </a:p>
            <a:p>
              <a:pPr>
                <a:spcAft>
                  <a:spcPts val="600"/>
                </a:spcAft>
              </a:pPr>
              <a:endParaRPr lang="en-US" sz="1100" dirty="0">
                <a:solidFill>
                  <a:srgbClr val="000000"/>
                </a:solidFill>
                <a:ea typeface="Calibri" panose="020F0502020204030204" pitchFamily="34" charset="0"/>
                <a:cs typeface="Calibri" panose="020F0502020204030204" pitchFamily="34" charset="0"/>
              </a:endParaRPr>
            </a:p>
          </p:txBody>
        </p:sp>
        <p:sp>
          <p:nvSpPr>
            <p:cNvPr id="84" name="Oval 83">
              <a:extLst>
                <a:ext uri="{FF2B5EF4-FFF2-40B4-BE49-F238E27FC236}">
                  <a16:creationId xmlns:a16="http://schemas.microsoft.com/office/drawing/2014/main" id="{391328F1-0ADF-AF47-B0F9-6A43C38822F4}"/>
                </a:ext>
              </a:extLst>
            </p:cNvPr>
            <p:cNvSpPr/>
            <p:nvPr/>
          </p:nvSpPr>
          <p:spPr>
            <a:xfrm>
              <a:off x="427512" y="1327160"/>
              <a:ext cx="696544" cy="112496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grpSp>
      <p:pic>
        <p:nvPicPr>
          <p:cNvPr id="9" name="Graphic 8" descr="Bus with solid fill">
            <a:extLst>
              <a:ext uri="{FF2B5EF4-FFF2-40B4-BE49-F238E27FC236}">
                <a16:creationId xmlns:a16="http://schemas.microsoft.com/office/drawing/2014/main" id="{DA422863-B9ED-22FF-BF35-8FF7AEEC396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70932" y="443942"/>
            <a:ext cx="775607" cy="775607"/>
          </a:xfrm>
          <a:prstGeom prst="rect">
            <a:avLst/>
          </a:prstGeom>
        </p:spPr>
      </p:pic>
      <p:pic>
        <p:nvPicPr>
          <p:cNvPr id="11" name="Graphic 10" descr="Road with solid fill">
            <a:extLst>
              <a:ext uri="{FF2B5EF4-FFF2-40B4-BE49-F238E27FC236}">
                <a16:creationId xmlns:a16="http://schemas.microsoft.com/office/drawing/2014/main" id="{FE6A4FD8-906B-70C4-DB64-E9A19E0C7E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05618" y="965068"/>
            <a:ext cx="914400" cy="914400"/>
          </a:xfrm>
          <a:prstGeom prst="rect">
            <a:avLst/>
          </a:prstGeom>
        </p:spPr>
      </p:pic>
    </p:spTree>
    <p:extLst>
      <p:ext uri="{BB962C8B-B14F-4D97-AF65-F5344CB8AC3E}">
        <p14:creationId xmlns:p14="http://schemas.microsoft.com/office/powerpoint/2010/main" val="370100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BFB81D7-86CF-95F2-945E-75F59A38F45F}"/>
              </a:ext>
            </a:extLst>
          </p:cNvPr>
          <p:cNvPicPr>
            <a:picLocks noChangeAspect="1"/>
          </p:cNvPicPr>
          <p:nvPr/>
        </p:nvPicPr>
        <p:blipFill>
          <a:blip r:embed="rId2">
            <a:alphaModFix amt="50000"/>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209987A-12BE-97CD-EE21-B2044CDD7E14}"/>
              </a:ext>
            </a:extLst>
          </p:cNvPr>
          <p:cNvSpPr>
            <a:spLocks noGrp="1"/>
          </p:cNvSpPr>
          <p:nvPr>
            <p:ph type="title"/>
          </p:nvPr>
        </p:nvSpPr>
        <p:spPr/>
        <p:txBody>
          <a:bodyPr/>
          <a:lstStyle/>
          <a:p>
            <a:pPr algn="ctr"/>
            <a:r>
              <a:rPr lang="en-IN" dirty="0">
                <a:latin typeface="Arial" panose="020B0604020202020204" pitchFamily="34" charset="0"/>
                <a:cs typeface="Arial" panose="020B0604020202020204" pitchFamily="34" charset="0"/>
              </a:rPr>
              <a:t>Conclusion </a:t>
            </a:r>
          </a:p>
        </p:txBody>
      </p:sp>
      <p:sp>
        <p:nvSpPr>
          <p:cNvPr id="3" name="Content Placeholder 2">
            <a:extLst>
              <a:ext uri="{FF2B5EF4-FFF2-40B4-BE49-F238E27FC236}">
                <a16:creationId xmlns:a16="http://schemas.microsoft.com/office/drawing/2014/main" id="{307968AD-CA8F-BF6D-A87B-823C37506A96}"/>
              </a:ext>
            </a:extLst>
          </p:cNvPr>
          <p:cNvSpPr>
            <a:spLocks noGrp="1"/>
          </p:cNvSpPr>
          <p:nvPr>
            <p:ph idx="1"/>
          </p:nvPr>
        </p:nvSpPr>
        <p:spPr>
          <a:xfrm>
            <a:off x="838200" y="1393371"/>
            <a:ext cx="10515600" cy="5355772"/>
          </a:xfrm>
        </p:spPr>
        <p:txBody>
          <a:bodyPr>
            <a:normAutofit lnSpcReduction="10000"/>
          </a:bodyPr>
          <a:lstStyle/>
          <a:p>
            <a:pPr>
              <a:lnSpc>
                <a:spcPct val="150000"/>
              </a:lnSpc>
            </a:pPr>
            <a:r>
              <a:rPr lang="en-IN" sz="1800" dirty="0">
                <a:latin typeface="Arial" panose="020B0604020202020204" pitchFamily="34" charset="0"/>
                <a:cs typeface="Arial" panose="020B0604020202020204" pitchFamily="34" charset="0"/>
              </a:rPr>
              <a:t>Air pollution has not only affected public health but also has tarnished Delhi’s international reputation. Reducing air pollution will improve its global image as a sustainable metropolis.</a:t>
            </a:r>
          </a:p>
          <a:p>
            <a:pPr>
              <a:lnSpc>
                <a:spcPct val="150000"/>
              </a:lnSpc>
            </a:pPr>
            <a:r>
              <a:rPr lang="en-US" sz="1800" dirty="0">
                <a:latin typeface="Arial" panose="020B0604020202020204" pitchFamily="34" charset="0"/>
                <a:cs typeface="Arial" panose="020B0604020202020204" pitchFamily="34" charset="0"/>
              </a:rPr>
              <a:t>As urbanization accelerates and population density increases, it becomes more crucial to control rising pollution levels, as a larger population leads to higher consumption of fossil fuels, resulting in more people falling ill and increased mortality rates.</a:t>
            </a:r>
          </a:p>
          <a:p>
            <a:pPr>
              <a:lnSpc>
                <a:spcPct val="150000"/>
              </a:lnSpc>
            </a:pPr>
            <a:r>
              <a:rPr lang="en-US" sz="1800" dirty="0">
                <a:latin typeface="Arial" panose="020B0604020202020204" pitchFamily="34" charset="0"/>
                <a:cs typeface="Arial" panose="020B0604020202020204" pitchFamily="34" charset="0"/>
              </a:rPr>
              <a:t>The National Clean Air Programme (NCAP) plays a pivotal role in this transformation by setting ambitious targets and implementing comprehensive strategies to curb pollution sources such as vehicular emissions, industrial activities, and agricultural practices. Effectively implementing NCAP will significantly benefit the health of Delhi's residents.</a:t>
            </a:r>
          </a:p>
          <a:p>
            <a:pPr>
              <a:lnSpc>
                <a:spcPct val="150000"/>
              </a:lnSpc>
            </a:pPr>
            <a:r>
              <a:rPr lang="en-US" sz="1800" dirty="0">
                <a:latin typeface="Arial" panose="020B0604020202020204" pitchFamily="34" charset="0"/>
                <a:cs typeface="Arial" panose="020B0604020202020204" pitchFamily="34" charset="0"/>
              </a:rPr>
              <a:t>The case studies of Beijing and Seoul effectively demonstrate that the targets set by the National Clean Air Programme (NCAP) are achievable if the government and citizens collaborate and cooperate effectively.</a:t>
            </a:r>
          </a:p>
        </p:txBody>
      </p:sp>
    </p:spTree>
    <p:extLst>
      <p:ext uri="{BB962C8B-B14F-4D97-AF65-F5344CB8AC3E}">
        <p14:creationId xmlns:p14="http://schemas.microsoft.com/office/powerpoint/2010/main" val="3144533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AB132F-3C78-1606-22BF-CDE3A483761E}"/>
              </a:ext>
            </a:extLst>
          </p:cNvPr>
          <p:cNvPicPr>
            <a:picLocks noChangeAspect="1"/>
          </p:cNvPicPr>
          <p:nvPr/>
        </p:nvPicPr>
        <p:blipFill>
          <a:blip r:embed="rId2">
            <a:alphaModFix amt="50000"/>
            <a:extLst>
              <a:ext uri="{BEBA8EAE-BF5A-486C-A8C5-ECC9F3942E4B}">
                <a14:imgProps xmlns:a14="http://schemas.microsoft.com/office/drawing/2010/main">
                  <a14:imgLayer r:embed="rId3">
                    <a14:imgEffect>
                      <a14:colorTemperature colorTemp="7200"/>
                    </a14:imgEffect>
                  </a14:imgLayer>
                </a14:imgProps>
              </a:ext>
            </a:extLst>
          </a:blip>
          <a:stretch>
            <a:fillRect/>
          </a:stretch>
        </p:blipFill>
        <p:spPr>
          <a:xfrm>
            <a:off x="0" y="0"/>
            <a:ext cx="12192000" cy="7256417"/>
          </a:xfrm>
          <a:prstGeom prst="rect">
            <a:avLst/>
          </a:prstGeom>
          <a:blipFill dpi="0" rotWithShape="1">
            <a:blip r:embed="rId4">
              <a:alphaModFix amt="50000"/>
            </a:blip>
            <a:srcRect/>
            <a:tile tx="0" ty="0" sx="100000" sy="100000" flip="none" algn="ctr"/>
          </a:blipFill>
        </p:spPr>
      </p:pic>
      <p:sp>
        <p:nvSpPr>
          <p:cNvPr id="3" name="Content Placeholder 2">
            <a:extLst>
              <a:ext uri="{FF2B5EF4-FFF2-40B4-BE49-F238E27FC236}">
                <a16:creationId xmlns:a16="http://schemas.microsoft.com/office/drawing/2014/main" id="{E8EA4086-E932-1D31-2378-EB6F1E5A5F71}"/>
              </a:ext>
            </a:extLst>
          </p:cNvPr>
          <p:cNvSpPr>
            <a:spLocks noGrp="1"/>
          </p:cNvSpPr>
          <p:nvPr>
            <p:ph idx="1"/>
          </p:nvPr>
        </p:nvSpPr>
        <p:spPr>
          <a:xfrm>
            <a:off x="609600" y="1140822"/>
            <a:ext cx="5486400" cy="4974771"/>
          </a:xfrm>
        </p:spPr>
        <p:txBody>
          <a:bodyPr>
            <a:normAutofit/>
          </a:bodyPr>
          <a:lstStyle/>
          <a:p>
            <a:pPr>
              <a:lnSpc>
                <a:spcPct val="150000"/>
              </a:lnSpc>
            </a:pPr>
            <a:r>
              <a:rPr lang="en-US" sz="1800" dirty="0">
                <a:latin typeface="Arial" panose="020B0604020202020204" pitchFamily="34" charset="0"/>
                <a:cs typeface="Arial" panose="020B0604020202020204" pitchFamily="34" charset="0"/>
              </a:rPr>
              <a:t>Sustainable practices promoted under NCAP, such as renewable energy adoption and green technologies, also spur innovation and entrepreneurship, further boosting the economy.</a:t>
            </a:r>
            <a:endParaRPr lang="en-IN" sz="1800" kern="0" dirty="0">
              <a:effectLst/>
              <a:latin typeface="Arial" panose="020B0604020202020204" pitchFamily="34" charset="0"/>
              <a:ea typeface="Times New Roman" panose="02020603050405020304" pitchFamily="18" charset="0"/>
            </a:endParaRPr>
          </a:p>
          <a:p>
            <a:pPr>
              <a:lnSpc>
                <a:spcPct val="150000"/>
              </a:lnSpc>
            </a:pPr>
            <a:r>
              <a:rPr lang="en-IN" sz="1800" kern="0" dirty="0">
                <a:effectLst/>
                <a:latin typeface="Arial" panose="020B0604020202020204" pitchFamily="34" charset="0"/>
                <a:ea typeface="Times New Roman" panose="02020603050405020304" pitchFamily="18" charset="0"/>
              </a:rPr>
              <a:t>By prioritizing air quality improvement, Delhi can emerge as a leading global city that balances growth with environmental stewardship, ultimately benefiting present and future generations alike</a:t>
            </a:r>
            <a:r>
              <a:rPr lang="en-IN" sz="2000" kern="0" dirty="0">
                <a:effectLst/>
                <a:latin typeface="Arial" panose="020B0604020202020204" pitchFamily="34" charset="0"/>
                <a:ea typeface="Times New Roman" panose="02020603050405020304" pitchFamily="18" charset="0"/>
              </a:rPr>
              <a:t>.</a:t>
            </a:r>
            <a:endParaRPr lang="en-IN" sz="3200" dirty="0"/>
          </a:p>
        </p:txBody>
      </p:sp>
    </p:spTree>
    <p:extLst>
      <p:ext uri="{BB962C8B-B14F-4D97-AF65-F5344CB8AC3E}">
        <p14:creationId xmlns:p14="http://schemas.microsoft.com/office/powerpoint/2010/main" val="9032147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9A331-CB5D-38EA-F5E9-D6933E8D1DA3}"/>
              </a:ext>
            </a:extLst>
          </p:cNvPr>
          <p:cNvSpPr>
            <a:spLocks noGrp="1"/>
          </p:cNvSpPr>
          <p:nvPr>
            <p:ph type="title"/>
          </p:nvPr>
        </p:nvSpPr>
        <p:spPr/>
        <p:txBody>
          <a:bodyPr>
            <a:normAutofit/>
          </a:bodyPr>
          <a:lstStyle/>
          <a:p>
            <a:pPr algn="ctr"/>
            <a:r>
              <a:rPr lang="en-IN" sz="4000" dirty="0">
                <a:latin typeface="Arial" panose="020B0604020202020204" pitchFamily="34" charset="0"/>
                <a:cs typeface="Arial" panose="020B0604020202020204" pitchFamily="34" charset="0"/>
              </a:rPr>
              <a:t>References</a:t>
            </a:r>
          </a:p>
        </p:txBody>
      </p:sp>
      <p:sp>
        <p:nvSpPr>
          <p:cNvPr id="3" name="Content Placeholder 2">
            <a:extLst>
              <a:ext uri="{FF2B5EF4-FFF2-40B4-BE49-F238E27FC236}">
                <a16:creationId xmlns:a16="http://schemas.microsoft.com/office/drawing/2014/main" id="{ECA8FEA2-060D-5C0B-FB05-72868EBC76A2}"/>
              </a:ext>
            </a:extLst>
          </p:cNvPr>
          <p:cNvSpPr>
            <a:spLocks noGrp="1"/>
          </p:cNvSpPr>
          <p:nvPr>
            <p:ph idx="1"/>
          </p:nvPr>
        </p:nvSpPr>
        <p:spPr>
          <a:xfrm>
            <a:off x="838200" y="1349828"/>
            <a:ext cx="10515600" cy="5236029"/>
          </a:xfrm>
        </p:spPr>
        <p:txBody>
          <a:bodyPr>
            <a:normAutofit fontScale="92500" lnSpcReduction="10000"/>
          </a:bodyPr>
          <a:lstStyle/>
          <a:p>
            <a:pPr>
              <a:lnSpc>
                <a:spcPct val="150000"/>
              </a:lnSpc>
            </a:pPr>
            <a:r>
              <a:rPr lang="en-US" sz="1600" dirty="0">
                <a:latin typeface="Arial" panose="020B0604020202020204" pitchFamily="34" charset="0"/>
                <a:cs typeface="Arial" panose="020B0604020202020204" pitchFamily="34" charset="0"/>
              </a:rPr>
              <a:t>Darbari S, Block. D Final Report Source Apportionment of PM2.5 &amp; PM10 of Delhi NCR for Identification of Major Sources Prepared for Department of Heavy Industry Ministry of Heavy Industries and Public Enterprises, New Delhi The Energy and Resources Institute [Internet]. 2018. Available from: </a:t>
            </a:r>
            <a:r>
              <a:rPr lang="en-US" sz="1600" dirty="0">
                <a:latin typeface="Arial" panose="020B0604020202020204" pitchFamily="34" charset="0"/>
                <a:cs typeface="Arial" panose="020B0604020202020204" pitchFamily="34" charset="0"/>
                <a:hlinkClick r:id="rId2"/>
              </a:rPr>
              <a:t>https://www.teriin.org/sites/default/files/2018-08/Report_SA_AQM-Delhi-NCR_0.pdf</a:t>
            </a:r>
            <a:endParaRPr lang="en-US" sz="1600" dirty="0">
              <a:latin typeface="Arial" panose="020B0604020202020204" pitchFamily="34" charset="0"/>
              <a:cs typeface="Arial" panose="020B0604020202020204" pitchFamily="34" charset="0"/>
            </a:endParaRPr>
          </a:p>
          <a:p>
            <a:pPr>
              <a:lnSpc>
                <a:spcPct val="150000"/>
              </a:lnSpc>
            </a:pPr>
            <a:r>
              <a:rPr lang="en-IN" sz="1600" dirty="0">
                <a:latin typeface="Arial" panose="020B0604020202020204" pitchFamily="34" charset="0"/>
                <a:cs typeface="Arial" panose="020B0604020202020204" pitchFamily="34" charset="0"/>
              </a:rPr>
              <a:t>NCAP NATIONAL CLEAN AIR PROGRAMME [Internet]. Available from: </a:t>
            </a:r>
            <a:r>
              <a:rPr lang="en-IN" sz="1600" dirty="0">
                <a:latin typeface="Arial" panose="020B0604020202020204" pitchFamily="34" charset="0"/>
                <a:cs typeface="Arial" panose="020B0604020202020204" pitchFamily="34" charset="0"/>
                <a:hlinkClick r:id="rId3"/>
              </a:rPr>
              <a:t>https://moef.gov.in/wp-content/uploads/2019/05/NCAP_Report.pdf</a:t>
            </a:r>
            <a:endParaRPr lang="en-IN" sz="1600" dirty="0">
              <a:latin typeface="Arial" panose="020B0604020202020204" pitchFamily="34" charset="0"/>
              <a:cs typeface="Arial" panose="020B0604020202020204" pitchFamily="34" charset="0"/>
            </a:endParaRPr>
          </a:p>
          <a:p>
            <a:pPr>
              <a:lnSpc>
                <a:spcPct val="150000"/>
              </a:lnSpc>
            </a:pPr>
            <a:r>
              <a:rPr lang="en-US" sz="1600" dirty="0">
                <a:latin typeface="Arial" panose="020B0604020202020204" pitchFamily="34" charset="0"/>
                <a:cs typeface="Arial" panose="020B0604020202020204" pitchFamily="34" charset="0"/>
              </a:rPr>
              <a:t>National Clean Air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 (NCAP) to improve air quality in 131 cities by engaging all stakeholders [Internet]. Gov.in. [cited 2024 Jun 19]. Available from: </a:t>
            </a:r>
            <a:r>
              <a:rPr lang="en-US" sz="1600" dirty="0">
                <a:latin typeface="Arial" panose="020B0604020202020204" pitchFamily="34" charset="0"/>
                <a:cs typeface="Arial" panose="020B0604020202020204" pitchFamily="34" charset="0"/>
                <a:hlinkClick r:id="rId4"/>
              </a:rPr>
              <a:t>https://pib.gov.in/PressReleaseIframePage.aspx?PRID=1909910</a:t>
            </a:r>
            <a:endParaRPr lang="en-US" sz="1600" dirty="0">
              <a:latin typeface="Arial" panose="020B0604020202020204" pitchFamily="34" charset="0"/>
              <a:cs typeface="Arial" panose="020B0604020202020204" pitchFamily="34" charset="0"/>
            </a:endParaRPr>
          </a:p>
          <a:p>
            <a:pPr>
              <a:lnSpc>
                <a:spcPct val="150000"/>
              </a:lnSpc>
            </a:pPr>
            <a:r>
              <a:rPr lang="en-US" sz="1600" dirty="0">
                <a:latin typeface="Arial" panose="020B0604020202020204" pitchFamily="34" charset="0"/>
                <a:cs typeface="Arial" panose="020B0604020202020204" pitchFamily="34" charset="0"/>
              </a:rPr>
              <a:t>Promise of Seoul [Internet]. Iclei.org. [cited 2024 Jun 19]. Available from: </a:t>
            </a:r>
            <a:r>
              <a:rPr lang="en-US" sz="1600" dirty="0">
                <a:latin typeface="Arial" panose="020B0604020202020204" pitchFamily="34" charset="0"/>
                <a:cs typeface="Arial" panose="020B0604020202020204" pitchFamily="34" charset="0"/>
                <a:hlinkClick r:id="rId5"/>
              </a:rPr>
              <a:t>https://e-lib.iclei.org/promise-of-seoul/</a:t>
            </a:r>
            <a:endParaRPr lang="en-US" sz="1600" dirty="0">
              <a:latin typeface="Arial" panose="020B0604020202020204" pitchFamily="34" charset="0"/>
              <a:cs typeface="Arial" panose="020B0604020202020204" pitchFamily="34" charset="0"/>
            </a:endParaRPr>
          </a:p>
          <a:p>
            <a:pPr>
              <a:lnSpc>
                <a:spcPct val="150000"/>
              </a:lnSpc>
            </a:pPr>
            <a:r>
              <a:rPr lang="en-US" sz="1600" dirty="0">
                <a:latin typeface="Arial" panose="020B0604020202020204" pitchFamily="34" charset="0"/>
                <a:cs typeface="Arial" panose="020B0604020202020204" pitchFamily="34" charset="0"/>
              </a:rPr>
              <a:t>Goodwill Ambassadors. Once enough to stain shirt collars, smog is lifting over greater Seoul [Internet]. UNEP. United Nations Environment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 2024 [cited 2024 Jun 19]. Available from: https://www.unep.org/news-and-stories/story/once-enough-stain-shirt-collars-smog-lifting-over-greater-seoul</a:t>
            </a:r>
            <a:endParaRPr lang="en-IN" sz="1600" dirty="0">
              <a:latin typeface="Arial" panose="020B0604020202020204" pitchFamily="34" charset="0"/>
              <a:cs typeface="Arial" panose="020B0604020202020204" pitchFamily="34" charset="0"/>
            </a:endParaRPr>
          </a:p>
          <a:p>
            <a:pPr>
              <a:lnSpc>
                <a:spcPct val="150000"/>
              </a:lnSpc>
            </a:pPr>
            <a:r>
              <a:rPr lang="en-IN" sz="16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Government launches National Clean Air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 (NCAP) [Internet]. Gov.in. [cited 2024 Jun 19]. Available from: https://pib.gov.in/pressreleaseiframepage.aspx?prid=1559384</a:t>
            </a:r>
            <a:endParaRPr lang="en-IN"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06314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3B79C-1861-696E-4CB8-367749159E42}"/>
              </a:ext>
            </a:extLst>
          </p:cNvPr>
          <p:cNvSpPr>
            <a:spLocks noGrp="1"/>
          </p:cNvSpPr>
          <p:nvPr>
            <p:ph type="title"/>
          </p:nvPr>
        </p:nvSpPr>
        <p:spPr/>
        <p:txBody>
          <a:bodyPr>
            <a:normAutofit/>
          </a:bodyPr>
          <a:lstStyle/>
          <a:p>
            <a:pPr algn="ctr"/>
            <a:r>
              <a:rPr lang="en-IN" sz="4000" dirty="0">
                <a:latin typeface="Arial" panose="020B0604020202020204" pitchFamily="34" charset="0"/>
                <a:cs typeface="Arial" panose="020B0604020202020204" pitchFamily="34" charset="0"/>
              </a:rPr>
              <a:t>References</a:t>
            </a:r>
          </a:p>
        </p:txBody>
      </p:sp>
      <p:sp>
        <p:nvSpPr>
          <p:cNvPr id="3" name="Content Placeholder 2">
            <a:extLst>
              <a:ext uri="{FF2B5EF4-FFF2-40B4-BE49-F238E27FC236}">
                <a16:creationId xmlns:a16="http://schemas.microsoft.com/office/drawing/2014/main" id="{48FDB3AB-7F36-BA25-816F-89198439DD30}"/>
              </a:ext>
            </a:extLst>
          </p:cNvPr>
          <p:cNvSpPr>
            <a:spLocks noGrp="1"/>
          </p:cNvSpPr>
          <p:nvPr>
            <p:ph idx="1"/>
          </p:nvPr>
        </p:nvSpPr>
        <p:spPr>
          <a:xfrm>
            <a:off x="838200" y="1825625"/>
            <a:ext cx="10515600" cy="4912632"/>
          </a:xfrm>
        </p:spPr>
        <p:txBody>
          <a:bodyPr>
            <a:normAutofit/>
          </a:bodyPr>
          <a:lstStyle/>
          <a:p>
            <a:pPr>
              <a:lnSpc>
                <a:spcPct val="150000"/>
              </a:lnSpc>
            </a:pPr>
            <a:r>
              <a:rPr lang="en-IN" sz="1600" b="0" i="0" dirty="0">
                <a:solidFill>
                  <a:srgbClr val="37393C"/>
                </a:solidFill>
                <a:effectLst/>
                <a:highlight>
                  <a:srgbClr val="FFFFFF"/>
                </a:highlight>
                <a:latin typeface="Arial" panose="020B0604020202020204" pitchFamily="34" charset="0"/>
              </a:rPr>
              <a:t>Ambient (outdoor) air pollution [Internet]. Who.int. [cited 2024 Jun 19]. Available from: </a:t>
            </a:r>
            <a:r>
              <a:rPr lang="en-IN" sz="1600" b="0" i="0" dirty="0">
                <a:solidFill>
                  <a:srgbClr val="37393C"/>
                </a:solidFill>
                <a:effectLst/>
                <a:highlight>
                  <a:srgbClr val="FFFFFF"/>
                </a:highlight>
                <a:latin typeface="Arial" panose="020B0604020202020204" pitchFamily="34" charset="0"/>
                <a:hlinkClick r:id="rId2"/>
              </a:rPr>
              <a:t>https://www.who.int/news-room/fact-sheets/detail/ambient-(outdoor)-air-quality-and-health</a:t>
            </a:r>
            <a:endParaRPr lang="en-IN" sz="1600" b="0" i="0" dirty="0">
              <a:solidFill>
                <a:srgbClr val="37393C"/>
              </a:solidFill>
              <a:effectLst/>
              <a:highlight>
                <a:srgbClr val="FFFFFF"/>
              </a:highlight>
              <a:latin typeface="Arial" panose="020B0604020202020204" pitchFamily="34" charset="0"/>
            </a:endParaRPr>
          </a:p>
          <a:p>
            <a:pPr>
              <a:lnSpc>
                <a:spcPct val="150000"/>
              </a:lnSpc>
            </a:pPr>
            <a:r>
              <a:rPr lang="en-US" sz="1600" b="0" i="0" dirty="0">
                <a:solidFill>
                  <a:srgbClr val="37393C"/>
                </a:solidFill>
                <a:effectLst/>
                <a:highlight>
                  <a:srgbClr val="FFFFFF"/>
                </a:highlight>
                <a:latin typeface="Arial" panose="020B0604020202020204" pitchFamily="34" charset="0"/>
              </a:rPr>
              <a:t>Premature deaths due to exposure to fine particulate matter in Europe [Internet]. Europa.eu. [cited 2024 Jun 19]. Available from: </a:t>
            </a:r>
            <a:r>
              <a:rPr lang="en-US" sz="1600" b="0" i="0" dirty="0">
                <a:solidFill>
                  <a:srgbClr val="37393C"/>
                </a:solidFill>
                <a:effectLst/>
                <a:highlight>
                  <a:srgbClr val="FFFFFF"/>
                </a:highlight>
                <a:latin typeface="Arial" panose="020B0604020202020204" pitchFamily="34" charset="0"/>
                <a:hlinkClick r:id="rId3"/>
              </a:rPr>
              <a:t>https://www.eea.europa.eu/en/analysis/indicators/health-impacts-of-exposure-to</a:t>
            </a:r>
            <a:endParaRPr lang="en-US" sz="1600" b="0" i="0" dirty="0">
              <a:solidFill>
                <a:srgbClr val="37393C"/>
              </a:solidFill>
              <a:effectLst/>
              <a:highlight>
                <a:srgbClr val="FFFFFF"/>
              </a:highlight>
              <a:latin typeface="Arial" panose="020B0604020202020204" pitchFamily="34" charset="0"/>
            </a:endParaRPr>
          </a:p>
          <a:p>
            <a:pPr>
              <a:lnSpc>
                <a:spcPct val="150000"/>
              </a:lnSpc>
            </a:pPr>
            <a:r>
              <a:rPr lang="en-US" sz="1600" b="0" i="0" dirty="0">
                <a:solidFill>
                  <a:srgbClr val="37393C"/>
                </a:solidFill>
                <a:effectLst/>
                <a:highlight>
                  <a:srgbClr val="FFFFFF"/>
                </a:highlight>
                <a:latin typeface="Arial" panose="020B0604020202020204" pitchFamily="34" charset="0"/>
              </a:rPr>
              <a:t>Health impacts of air pollution in Europe, 2022 [Internet]. European Environment Agency. 2022 [cited 2024 Jun 19]. Available from: </a:t>
            </a:r>
            <a:r>
              <a:rPr lang="en-US" sz="1600" b="0" i="0" dirty="0">
                <a:solidFill>
                  <a:srgbClr val="37393C"/>
                </a:solidFill>
                <a:effectLst/>
                <a:highlight>
                  <a:srgbClr val="FFFFFF"/>
                </a:highlight>
                <a:latin typeface="Arial" panose="020B0604020202020204" pitchFamily="34" charset="0"/>
                <a:hlinkClick r:id="rId4"/>
              </a:rPr>
              <a:t>https://www.eea.europa.eu/publications/air-quality-in-europe-2022/health-impacts-of-air-pollution</a:t>
            </a:r>
            <a:endParaRPr lang="en-US" sz="1600" b="0" i="0" dirty="0">
              <a:solidFill>
                <a:srgbClr val="37393C"/>
              </a:solidFill>
              <a:effectLst/>
              <a:highlight>
                <a:srgbClr val="FFFFFF"/>
              </a:highlight>
              <a:latin typeface="Arial" panose="020B0604020202020204" pitchFamily="34" charset="0"/>
            </a:endParaRPr>
          </a:p>
          <a:p>
            <a:pPr>
              <a:lnSpc>
                <a:spcPct val="150000"/>
              </a:lnSpc>
            </a:pPr>
            <a:r>
              <a:rPr lang="en-US" sz="1600" b="0" i="0" dirty="0">
                <a:solidFill>
                  <a:srgbClr val="37393C"/>
                </a:solidFill>
                <a:effectLst/>
                <a:highlight>
                  <a:srgbClr val="FFFFFF"/>
                </a:highlight>
                <a:latin typeface="Arial" panose="020B0604020202020204" pitchFamily="34" charset="0"/>
              </a:rPr>
              <a:t>India G. 1800 deaths per million estimated due to PM2.5 air pollution in Delhi, reveals a new finding by Greenpeace and </a:t>
            </a:r>
            <a:r>
              <a:rPr lang="en-US" sz="1600" b="0" i="0" dirty="0" err="1">
                <a:solidFill>
                  <a:srgbClr val="37393C"/>
                </a:solidFill>
                <a:effectLst/>
                <a:highlight>
                  <a:srgbClr val="FFFFFF"/>
                </a:highlight>
                <a:latin typeface="Arial" panose="020B0604020202020204" pitchFamily="34" charset="0"/>
              </a:rPr>
              <a:t>IQAir</a:t>
            </a:r>
            <a:r>
              <a:rPr lang="en-US" sz="1600" b="0" i="0" dirty="0">
                <a:solidFill>
                  <a:srgbClr val="37393C"/>
                </a:solidFill>
                <a:effectLst/>
                <a:highlight>
                  <a:srgbClr val="FFFFFF"/>
                </a:highlight>
                <a:latin typeface="Arial" panose="020B0604020202020204" pitchFamily="34" charset="0"/>
              </a:rPr>
              <a:t> [Internet]. Greenpeace India. [cited 2024 Jun 19]. Available from: </a:t>
            </a:r>
            <a:r>
              <a:rPr lang="en-US" sz="1600" b="0" i="0" dirty="0">
                <a:solidFill>
                  <a:srgbClr val="37393C"/>
                </a:solidFill>
                <a:effectLst/>
                <a:highlight>
                  <a:srgbClr val="FFFFFF"/>
                </a:highlight>
                <a:latin typeface="Arial" panose="020B0604020202020204" pitchFamily="34" charset="0"/>
                <a:hlinkClick r:id="rId5"/>
              </a:rPr>
              <a:t>https://www.greenpeace.org/india/en/press/10991/1800-deaths-per-million-estimated-due-to-pm2-5-air-pollution-in-delhi-reveals-a-new-finding-by-greenpeace-and-iqair/</a:t>
            </a:r>
            <a:endParaRPr lang="en-US" sz="1600" b="0" i="0" dirty="0">
              <a:solidFill>
                <a:srgbClr val="37393C"/>
              </a:solidFill>
              <a:effectLst/>
              <a:highlight>
                <a:srgbClr val="FFFFFF"/>
              </a:highlight>
              <a:latin typeface="Arial" panose="020B0604020202020204" pitchFamily="34" charset="0"/>
            </a:endParaRPr>
          </a:p>
          <a:p>
            <a:pPr>
              <a:lnSpc>
                <a:spcPct val="150000"/>
              </a:lnSpc>
            </a:pPr>
            <a:endParaRPr lang="en-US" sz="1600" b="0" i="0" dirty="0">
              <a:solidFill>
                <a:srgbClr val="37393C"/>
              </a:solidFill>
              <a:effectLst/>
              <a:highlight>
                <a:srgbClr val="FFFFFF"/>
              </a:highlight>
              <a:latin typeface="Arial" panose="020B0604020202020204" pitchFamily="34" charset="0"/>
            </a:endParaRPr>
          </a:p>
          <a:p>
            <a:pPr>
              <a:lnSpc>
                <a:spcPct val="150000"/>
              </a:lnSpc>
            </a:pPr>
            <a:endParaRPr lang="en-IN" sz="1600" b="0" i="0" dirty="0">
              <a:solidFill>
                <a:srgbClr val="37393C"/>
              </a:solidFill>
              <a:effectLst/>
              <a:highlight>
                <a:srgbClr val="FFFFFF"/>
              </a:highlight>
              <a:latin typeface="Arial" panose="020B0604020202020204" pitchFamily="34" charset="0"/>
            </a:endParaRPr>
          </a:p>
          <a:p>
            <a:pPr>
              <a:lnSpc>
                <a:spcPct val="150000"/>
              </a:lnSpc>
            </a:pPr>
            <a:endParaRPr lang="en-IN" sz="1600" b="0" i="0" dirty="0">
              <a:solidFill>
                <a:srgbClr val="37393C"/>
              </a:solidFill>
              <a:effectLst/>
              <a:highlight>
                <a:srgbClr val="FFFFFF"/>
              </a:highlight>
              <a:latin typeface="Arial" panose="020B0604020202020204" pitchFamily="34" charset="0"/>
            </a:endParaRPr>
          </a:p>
          <a:p>
            <a:endParaRPr lang="en-IN" dirty="0"/>
          </a:p>
        </p:txBody>
      </p:sp>
    </p:spTree>
    <p:extLst>
      <p:ext uri="{BB962C8B-B14F-4D97-AF65-F5344CB8AC3E}">
        <p14:creationId xmlns:p14="http://schemas.microsoft.com/office/powerpoint/2010/main" val="1290330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3">
            <a:alphaModFix amt="61000"/>
          </a:blip>
          <a:tile tx="0" ty="0" sx="100000" sy="100000" flip="none" algn="tl"/>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3B218-F677-98BD-EFDB-5486655066DD}"/>
              </a:ext>
            </a:extLst>
          </p:cNvPr>
          <p:cNvSpPr>
            <a:spLocks noGrp="1"/>
          </p:cNvSpPr>
          <p:nvPr>
            <p:ph type="title"/>
          </p:nvPr>
        </p:nvSpPr>
        <p:spPr>
          <a:xfrm>
            <a:off x="838200" y="209776"/>
            <a:ext cx="10515600" cy="1082675"/>
          </a:xfrm>
        </p:spPr>
        <p:txBody>
          <a:bodyPr>
            <a:normAutofit/>
          </a:bodyPr>
          <a:lstStyle/>
          <a:p>
            <a:pPr algn="ctr"/>
            <a:r>
              <a:rPr lang="en-IN" sz="4000" dirty="0">
                <a:latin typeface="Arial" panose="020B0604020202020204" pitchFamily="34" charset="0"/>
                <a:cs typeface="Arial" panose="020B0604020202020204" pitchFamily="34" charset="0"/>
              </a:rPr>
              <a:t>Introduction</a:t>
            </a:r>
          </a:p>
        </p:txBody>
      </p:sp>
      <p:sp>
        <p:nvSpPr>
          <p:cNvPr id="3" name="Content Placeholder 2">
            <a:extLst>
              <a:ext uri="{FF2B5EF4-FFF2-40B4-BE49-F238E27FC236}">
                <a16:creationId xmlns:a16="http://schemas.microsoft.com/office/drawing/2014/main" id="{DAFD2703-C39D-2BBA-4BE6-888553DA414A}"/>
              </a:ext>
            </a:extLst>
          </p:cNvPr>
          <p:cNvSpPr>
            <a:spLocks noGrp="1"/>
          </p:cNvSpPr>
          <p:nvPr>
            <p:ph idx="1"/>
          </p:nvPr>
        </p:nvSpPr>
        <p:spPr>
          <a:xfrm>
            <a:off x="495300" y="1292451"/>
            <a:ext cx="6097574" cy="5097462"/>
          </a:xfrm>
          <a:noFill/>
        </p:spPr>
        <p:txBody>
          <a:bodyPr>
            <a:normAutofit fontScale="85000" lnSpcReduction="10000"/>
          </a:bodyPr>
          <a:lstStyle/>
          <a:p>
            <a:pPr algn="just">
              <a:lnSpc>
                <a:spcPct val="120000"/>
              </a:lnSpc>
            </a:pPr>
            <a:r>
              <a:rPr lang="en-IN" sz="1900" dirty="0">
                <a:latin typeface="Arial" panose="020B0604020202020204" pitchFamily="34" charset="0"/>
                <a:cs typeface="Arial" panose="020B0604020202020204" pitchFamily="34" charset="0"/>
              </a:rPr>
              <a:t>Air pollution is a serious global concern with significant consequences to both environmental health and human health.</a:t>
            </a:r>
          </a:p>
          <a:p>
            <a:pPr algn="just">
              <a:lnSpc>
                <a:spcPct val="120000"/>
              </a:lnSpc>
            </a:pPr>
            <a:r>
              <a:rPr lang="en-US" sz="1900" dirty="0">
                <a:latin typeface="Arial" panose="020B0604020202020204" pitchFamily="34" charset="0"/>
                <a:cs typeface="Arial" panose="020B0604020202020204" pitchFamily="34" charset="0"/>
              </a:rPr>
              <a:t>According to WHO , ambient and household air pollution causes 6.7 million premature deaths annually all over the globe.</a:t>
            </a:r>
          </a:p>
          <a:p>
            <a:pPr algn="just">
              <a:lnSpc>
                <a:spcPct val="120000"/>
              </a:lnSpc>
            </a:pPr>
            <a:r>
              <a:rPr lang="en-US" sz="1900" dirty="0">
                <a:latin typeface="Arial" panose="020B0604020202020204" pitchFamily="34" charset="0"/>
                <a:cs typeface="Arial" panose="020B0604020202020204" pitchFamily="34" charset="0"/>
              </a:rPr>
              <a:t>2019 – 4.2 million premature deaths due to ambient air pollution ; 89% deaths contributed by low income and middle-income countries</a:t>
            </a:r>
          </a:p>
          <a:p>
            <a:pPr algn="just">
              <a:lnSpc>
                <a:spcPct val="120000"/>
              </a:lnSpc>
            </a:pPr>
            <a:r>
              <a:rPr lang="en-IN" sz="1900" dirty="0">
                <a:latin typeface="Arial" panose="020B0604020202020204" pitchFamily="34" charset="0"/>
                <a:cs typeface="Arial" panose="020B0604020202020204" pitchFamily="34" charset="0"/>
              </a:rPr>
              <a:t>Key pollutants : CO, SO2, NO, Volatile organic compounds, O3 and particulate matter.</a:t>
            </a:r>
          </a:p>
          <a:p>
            <a:pPr algn="just">
              <a:lnSpc>
                <a:spcPct val="120000"/>
              </a:lnSpc>
            </a:pPr>
            <a:r>
              <a:rPr lang="en-IN" sz="1900" dirty="0">
                <a:latin typeface="Arial" panose="020B0604020202020204" pitchFamily="34" charset="0"/>
                <a:cs typeface="Arial" panose="020B0604020202020204" pitchFamily="34" charset="0"/>
              </a:rPr>
              <a:t>PM 2.5 is the most dangerous as </a:t>
            </a:r>
            <a:r>
              <a:rPr lang="en-US" sz="1900" dirty="0">
                <a:latin typeface="Arial" panose="020B0604020202020204" pitchFamily="34" charset="0"/>
                <a:cs typeface="Arial" panose="020B0604020202020204" pitchFamily="34" charset="0"/>
              </a:rPr>
              <a:t>it can penetrate through the lungs and further enter the body through the blood stream, affecting all major organs.</a:t>
            </a:r>
          </a:p>
          <a:p>
            <a:pPr algn="just">
              <a:lnSpc>
                <a:spcPct val="120000"/>
              </a:lnSpc>
            </a:pPr>
            <a:r>
              <a:rPr lang="en-US" sz="1900" dirty="0">
                <a:latin typeface="Arial" panose="020B0604020202020204" pitchFamily="34" charset="0"/>
                <a:cs typeface="Arial" panose="020B0604020202020204" pitchFamily="34" charset="0"/>
              </a:rPr>
              <a:t>PM 2.5 exposure claimed 238,000 &amp; 253,000 premature deaths in 2020 and 2021 respectively in EU-27.</a:t>
            </a: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IN" sz="1600" dirty="0">
              <a:latin typeface="Arial" panose="020B0604020202020204" pitchFamily="34" charset="0"/>
              <a:cs typeface="Arial" panose="020B0604020202020204" pitchFamily="34" charset="0"/>
            </a:endParaRPr>
          </a:p>
          <a:p>
            <a:endParaRPr lang="en-IN" sz="1600" dirty="0">
              <a:latin typeface="Arial" panose="020B0604020202020204" pitchFamily="34" charset="0"/>
              <a:cs typeface="Arial" panose="020B0604020202020204" pitchFamily="34" charset="0"/>
            </a:endParaRPr>
          </a:p>
          <a:p>
            <a:endParaRPr lang="en-IN" sz="16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BCD66D36-0520-3C8E-E78E-ED20BFF4087E}"/>
              </a:ext>
            </a:extLst>
          </p:cNvPr>
          <p:cNvPicPr>
            <a:picLocks noChangeAspect="1"/>
          </p:cNvPicPr>
          <p:nvPr/>
        </p:nvPicPr>
        <p:blipFill>
          <a:blip r:embed="rId4"/>
          <a:stretch>
            <a:fillRect/>
          </a:stretch>
        </p:blipFill>
        <p:spPr>
          <a:xfrm>
            <a:off x="6868886" y="1650783"/>
            <a:ext cx="4577443" cy="3715874"/>
          </a:xfrm>
          <a:prstGeom prst="rect">
            <a:avLst/>
          </a:prstGeom>
        </p:spPr>
      </p:pic>
    </p:spTree>
    <p:extLst>
      <p:ext uri="{BB962C8B-B14F-4D97-AF65-F5344CB8AC3E}">
        <p14:creationId xmlns:p14="http://schemas.microsoft.com/office/powerpoint/2010/main" val="1963799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DEEA7-000C-4DC8-BC69-F8D6D84D78AE}"/>
              </a:ext>
            </a:extLst>
          </p:cNvPr>
          <p:cNvSpPr>
            <a:spLocks noGrp="1"/>
          </p:cNvSpPr>
          <p:nvPr>
            <p:ph type="title"/>
          </p:nvPr>
        </p:nvSpPr>
        <p:spPr/>
        <p:txBody>
          <a:bodyPr>
            <a:normAutofit/>
          </a:bodyPr>
          <a:lstStyle/>
          <a:p>
            <a:pPr algn="ctr"/>
            <a:r>
              <a:rPr lang="en-IN" sz="4000" dirty="0">
                <a:latin typeface="Arial" panose="020B0604020202020204" pitchFamily="34" charset="0"/>
                <a:cs typeface="Arial" panose="020B0604020202020204" pitchFamily="34" charset="0"/>
              </a:rPr>
              <a:t>References</a:t>
            </a:r>
          </a:p>
        </p:txBody>
      </p:sp>
      <p:sp>
        <p:nvSpPr>
          <p:cNvPr id="3" name="Content Placeholder 2">
            <a:extLst>
              <a:ext uri="{FF2B5EF4-FFF2-40B4-BE49-F238E27FC236}">
                <a16:creationId xmlns:a16="http://schemas.microsoft.com/office/drawing/2014/main" id="{38C484B6-94EB-9CE8-991E-2CE72ACDAC45}"/>
              </a:ext>
            </a:extLst>
          </p:cNvPr>
          <p:cNvSpPr>
            <a:spLocks noGrp="1"/>
          </p:cNvSpPr>
          <p:nvPr>
            <p:ph idx="1"/>
          </p:nvPr>
        </p:nvSpPr>
        <p:spPr>
          <a:xfrm>
            <a:off x="838200" y="1426028"/>
            <a:ext cx="10515600" cy="5279571"/>
          </a:xfrm>
        </p:spPr>
        <p:txBody>
          <a:bodyPr>
            <a:normAutofit lnSpcReduction="10000"/>
          </a:bodyPr>
          <a:lstStyle/>
          <a:p>
            <a:pPr>
              <a:lnSpc>
                <a:spcPct val="150000"/>
              </a:lnSpc>
            </a:pPr>
            <a:r>
              <a:rPr lang="en-IN" sz="1600" dirty="0" err="1">
                <a:latin typeface="Arial" panose="020B0604020202020204" pitchFamily="34" charset="0"/>
                <a:cs typeface="Arial" panose="020B0604020202020204" pitchFamily="34" charset="0"/>
              </a:rPr>
              <a:t>Guttikunda</a:t>
            </a:r>
            <a:r>
              <a:rPr lang="en-IN" sz="1600" dirty="0">
                <a:latin typeface="Arial" panose="020B0604020202020204" pitchFamily="34" charset="0"/>
                <a:cs typeface="Arial" panose="020B0604020202020204" pitchFamily="34" charset="0"/>
              </a:rPr>
              <a:t> S, Ka N, Ganguly T, Jawahar P. Plugging the ambient air monitoring gaps in India’s national clean air programme (NCAP) airsheds. Atmos Environ (1994) [Internet]. 2023;301(119712):119712. Available from: </a:t>
            </a:r>
            <a:r>
              <a:rPr lang="en-IN" sz="1600" dirty="0">
                <a:latin typeface="Arial" panose="020B0604020202020204" pitchFamily="34" charset="0"/>
                <a:cs typeface="Arial" panose="020B0604020202020204" pitchFamily="34" charset="0"/>
                <a:hlinkClick r:id="rId2"/>
              </a:rPr>
              <a:t>http://dx.doi.org/10.1016/j.atmosenv.2023.119712</a:t>
            </a:r>
            <a:endParaRPr lang="en-IN" sz="1600" dirty="0">
              <a:latin typeface="Arial" panose="020B0604020202020204" pitchFamily="34" charset="0"/>
              <a:cs typeface="Arial" panose="020B0604020202020204" pitchFamily="34" charset="0"/>
            </a:endParaRPr>
          </a:p>
          <a:p>
            <a:pPr>
              <a:lnSpc>
                <a:spcPct val="150000"/>
              </a:lnSpc>
            </a:pPr>
            <a:r>
              <a:rPr lang="en-US" sz="1600" dirty="0">
                <a:latin typeface="Arial" panose="020B0604020202020204" pitchFamily="34" charset="0"/>
                <a:cs typeface="Arial" panose="020B0604020202020204" pitchFamily="34" charset="0"/>
              </a:rPr>
              <a:t>Garg A, Gupta NC. The great smog month and spatial and monthly variation in air quality in ambient air in Delhi, India. J Health </a:t>
            </a:r>
            <a:r>
              <a:rPr lang="en-US" sz="1600" dirty="0" err="1">
                <a:latin typeface="Arial" panose="020B0604020202020204" pitchFamily="34" charset="0"/>
                <a:cs typeface="Arial" panose="020B0604020202020204" pitchFamily="34" charset="0"/>
              </a:rPr>
              <a:t>Pollut</a:t>
            </a:r>
            <a:r>
              <a:rPr lang="en-US" sz="1600" dirty="0">
                <a:latin typeface="Arial" panose="020B0604020202020204" pitchFamily="34" charset="0"/>
                <a:cs typeface="Arial" panose="020B0604020202020204" pitchFamily="34" charset="0"/>
              </a:rPr>
              <a:t> [Internet]. 2020 [cited 2024 Jun 19];10(27). Available from: </a:t>
            </a:r>
            <a:r>
              <a:rPr lang="en-US" sz="1600" dirty="0">
                <a:latin typeface="Arial" panose="020B0604020202020204" pitchFamily="34" charset="0"/>
                <a:cs typeface="Arial" panose="020B0604020202020204" pitchFamily="34" charset="0"/>
                <a:hlinkClick r:id="rId3"/>
              </a:rPr>
              <a:t>http://dx.doi.org/10.5696/2156-9614-10.27.200910</a:t>
            </a:r>
            <a:endParaRPr lang="en-US" sz="1600" dirty="0">
              <a:latin typeface="Arial" panose="020B0604020202020204" pitchFamily="34" charset="0"/>
              <a:cs typeface="Arial" panose="020B0604020202020204" pitchFamily="34" charset="0"/>
            </a:endParaRPr>
          </a:p>
          <a:p>
            <a:pPr>
              <a:lnSpc>
                <a:spcPct val="150000"/>
              </a:lnSpc>
            </a:pPr>
            <a:r>
              <a:rPr lang="en-US" sz="1600" dirty="0">
                <a:latin typeface="Arial" panose="020B0604020202020204" pitchFamily="34" charset="0"/>
                <a:cs typeface="Arial" panose="020B0604020202020204" pitchFamily="34" charset="0"/>
              </a:rPr>
              <a:t>Sharma D, </a:t>
            </a:r>
            <a:r>
              <a:rPr lang="en-US" sz="1600" dirty="0" err="1">
                <a:latin typeface="Arial" panose="020B0604020202020204" pitchFamily="34" charset="0"/>
                <a:cs typeface="Arial" panose="020B0604020202020204" pitchFamily="34" charset="0"/>
              </a:rPr>
              <a:t>Mauzerall</a:t>
            </a:r>
            <a:r>
              <a:rPr lang="en-US" sz="1600" dirty="0">
                <a:latin typeface="Arial" panose="020B0604020202020204" pitchFamily="34" charset="0"/>
                <a:cs typeface="Arial" panose="020B0604020202020204" pitchFamily="34" charset="0"/>
              </a:rPr>
              <a:t> D. Analysis of Air Quality Data in India between 2015 and 2019. Aerosol and Air Quality Research. 2022;22(2):210204.</a:t>
            </a:r>
          </a:p>
          <a:p>
            <a:pPr>
              <a:lnSpc>
                <a:spcPct val="150000"/>
              </a:lnSpc>
            </a:pPr>
            <a:r>
              <a:rPr lang="en-US" sz="1600" dirty="0" err="1">
                <a:latin typeface="Arial" panose="020B0604020202020204" pitchFamily="34" charset="0"/>
                <a:cs typeface="Arial" panose="020B0604020202020204" pitchFamily="34" charset="0"/>
              </a:rPr>
              <a:t>Guttikunda</a:t>
            </a:r>
            <a:r>
              <a:rPr lang="en-US" sz="1600" dirty="0">
                <a:latin typeface="Arial" panose="020B0604020202020204" pitchFamily="34" charset="0"/>
                <a:cs typeface="Arial" panose="020B0604020202020204" pitchFamily="34" charset="0"/>
              </a:rPr>
              <a:t> SK, </a:t>
            </a:r>
            <a:r>
              <a:rPr lang="en-US" sz="1600" dirty="0" err="1">
                <a:latin typeface="Arial" panose="020B0604020202020204" pitchFamily="34" charset="0"/>
                <a:cs typeface="Arial" panose="020B0604020202020204" pitchFamily="34" charset="0"/>
              </a:rPr>
              <a:t>Dammalapati</a:t>
            </a:r>
            <a:r>
              <a:rPr lang="en-US" sz="1600" dirty="0">
                <a:latin typeface="Arial" panose="020B0604020202020204" pitchFamily="34" charset="0"/>
                <a:cs typeface="Arial" panose="020B0604020202020204" pitchFamily="34" charset="0"/>
              </a:rPr>
              <a:t> SK, Pradhan G, Krishna B, </a:t>
            </a:r>
            <a:r>
              <a:rPr lang="en-US" sz="1600" dirty="0" err="1">
                <a:latin typeface="Arial" panose="020B0604020202020204" pitchFamily="34" charset="0"/>
                <a:cs typeface="Arial" panose="020B0604020202020204" pitchFamily="34" charset="0"/>
              </a:rPr>
              <a:t>Jethva</a:t>
            </a:r>
            <a:r>
              <a:rPr lang="en-US" sz="1600" dirty="0">
                <a:latin typeface="Arial" panose="020B0604020202020204" pitchFamily="34" charset="0"/>
                <a:cs typeface="Arial" panose="020B0604020202020204" pitchFamily="34" charset="0"/>
              </a:rPr>
              <a:t> HT, Jawahar P. What is polluting Delhi’s air? A review from 1990 to 2022. Sustainability [Internet]. 2023;15(5):4209. Available from: </a:t>
            </a:r>
            <a:r>
              <a:rPr lang="en-US" sz="1600" dirty="0">
                <a:latin typeface="Arial" panose="020B0604020202020204" pitchFamily="34" charset="0"/>
                <a:cs typeface="Arial" panose="020B0604020202020204" pitchFamily="34" charset="0"/>
                <a:hlinkClick r:id="rId4"/>
              </a:rPr>
              <a:t>http://dx.doi.org/10.3390/su15054209</a:t>
            </a:r>
            <a:endParaRPr lang="en-US" sz="1600" dirty="0">
              <a:latin typeface="Arial" panose="020B0604020202020204" pitchFamily="34" charset="0"/>
              <a:cs typeface="Arial" panose="020B0604020202020204" pitchFamily="34" charset="0"/>
            </a:endParaRPr>
          </a:p>
          <a:p>
            <a:pPr>
              <a:lnSpc>
                <a:spcPct val="150000"/>
              </a:lnSpc>
            </a:pPr>
            <a:r>
              <a:rPr lang="en-US" sz="1600" dirty="0">
                <a:latin typeface="Arial" panose="020B0604020202020204" pitchFamily="34" charset="0"/>
                <a:cs typeface="Arial" panose="020B0604020202020204" pitchFamily="34" charset="0"/>
              </a:rPr>
              <a:t>Tyagi B. India’s economic growth and disease burden in relation to air pollution. Lancet Reg Health Southeast Asia [Internet]. 2022;7(100081):100081. Available from: </a:t>
            </a:r>
            <a:r>
              <a:rPr lang="en-US" sz="1600" dirty="0">
                <a:latin typeface="Arial" panose="020B0604020202020204" pitchFamily="34" charset="0"/>
                <a:cs typeface="Arial" panose="020B0604020202020204" pitchFamily="34" charset="0"/>
                <a:hlinkClick r:id="rId5"/>
              </a:rPr>
              <a:t>http://dx.doi.org/10.1016/j.lansea.2022.100081</a:t>
            </a:r>
            <a:endParaRPr lang="en-US" sz="1600" dirty="0">
              <a:latin typeface="Arial" panose="020B0604020202020204" pitchFamily="34" charset="0"/>
              <a:cs typeface="Arial" panose="020B0604020202020204" pitchFamily="34" charset="0"/>
            </a:endParaRPr>
          </a:p>
          <a:p>
            <a:pPr marL="0" indent="0">
              <a:lnSpc>
                <a:spcPct val="150000"/>
              </a:lnSpc>
              <a:buNone/>
            </a:pPr>
            <a:endParaRPr lang="en-US" sz="1600" dirty="0">
              <a:latin typeface="Arial" panose="020B0604020202020204" pitchFamily="34" charset="0"/>
              <a:cs typeface="Arial" panose="020B0604020202020204" pitchFamily="34" charset="0"/>
            </a:endParaRPr>
          </a:p>
          <a:p>
            <a:pPr>
              <a:lnSpc>
                <a:spcPct val="150000"/>
              </a:lnSpc>
            </a:pPr>
            <a:endParaRPr lang="en-IN"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4891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1000"/>
            <a:lum/>
          </a:blip>
          <a:srcRect/>
          <a:stretch>
            <a:fillRect t="-10000" b="-10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2651721-79C0-6846-2AA0-2DCEBAFC969C}"/>
              </a:ext>
            </a:extLst>
          </p:cNvPr>
          <p:cNvSpPr/>
          <p:nvPr/>
        </p:nvSpPr>
        <p:spPr>
          <a:xfrm>
            <a:off x="4343920" y="2967335"/>
            <a:ext cx="3504165" cy="923330"/>
          </a:xfrm>
          <a:prstGeom prst="rect">
            <a:avLst/>
          </a:prstGeom>
          <a:blipFill>
            <a:blip r:embed="rId3">
              <a:alphaModFix amt="31000"/>
            </a:blip>
            <a:tile tx="0" ty="0" sx="100000" sy="100000" flip="none" algn="tl"/>
          </a:blipFill>
        </p:spPr>
        <p:txBody>
          <a:bodyPr wrap="none" lIns="91440" tIns="45720" rIns="91440" bIns="45720">
            <a:spAutoFit/>
          </a:bodyPr>
          <a:lstStyle/>
          <a:p>
            <a:pPr algn="ctr"/>
            <a:r>
              <a:rPr lang="en-US" sz="5400" b="1" cap="none" spc="0" dirty="0">
                <a:ln w="12700">
                  <a:solidFill>
                    <a:schemeClr val="accent5"/>
                  </a:solidFill>
                  <a:prstDash val="solid"/>
                </a:ln>
                <a:pattFill prst="ltDnDiag">
                  <a:fgClr>
                    <a:schemeClr val="accent5">
                      <a:lumMod val="60000"/>
                      <a:lumOff val="40000"/>
                    </a:schemeClr>
                  </a:fgClr>
                  <a:bgClr>
                    <a:schemeClr val="bg1"/>
                  </a:bgClr>
                </a:pattFill>
                <a:effectLst/>
              </a:rPr>
              <a:t>Thank you </a:t>
            </a:r>
          </a:p>
        </p:txBody>
      </p:sp>
      <p:sp>
        <p:nvSpPr>
          <p:cNvPr id="5" name="Rectangle 4">
            <a:extLst>
              <a:ext uri="{FF2B5EF4-FFF2-40B4-BE49-F238E27FC236}">
                <a16:creationId xmlns:a16="http://schemas.microsoft.com/office/drawing/2014/main" id="{33CD1A54-8955-E061-E100-851DE52C50EA}"/>
              </a:ext>
            </a:extLst>
          </p:cNvPr>
          <p:cNvSpPr/>
          <p:nvPr/>
        </p:nvSpPr>
        <p:spPr>
          <a:xfrm>
            <a:off x="4343917" y="2967335"/>
            <a:ext cx="3504165"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Thank you </a:t>
            </a:r>
            <a:endParaRPr lang="en-IN"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p:txBody>
      </p:sp>
    </p:spTree>
    <p:extLst>
      <p:ext uri="{BB962C8B-B14F-4D97-AF65-F5344CB8AC3E}">
        <p14:creationId xmlns:p14="http://schemas.microsoft.com/office/powerpoint/2010/main" val="6997766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1E20DB-167E-94B7-55DD-DB3F533F1AC0}"/>
              </a:ext>
            </a:extLst>
          </p:cNvPr>
          <p:cNvPicPr>
            <a:picLocks noChangeAspect="1"/>
          </p:cNvPicPr>
          <p:nvPr/>
        </p:nvPicPr>
        <p:blipFill>
          <a:blip r:embed="rId2"/>
          <a:stretch>
            <a:fillRect/>
          </a:stretch>
        </p:blipFill>
        <p:spPr>
          <a:xfrm>
            <a:off x="871481" y="3037114"/>
            <a:ext cx="5083629" cy="3677483"/>
          </a:xfrm>
          <a:prstGeom prst="rect">
            <a:avLst/>
          </a:prstGeom>
        </p:spPr>
      </p:pic>
      <p:pic>
        <p:nvPicPr>
          <p:cNvPr id="8" name="Picture 7">
            <a:extLst>
              <a:ext uri="{FF2B5EF4-FFF2-40B4-BE49-F238E27FC236}">
                <a16:creationId xmlns:a16="http://schemas.microsoft.com/office/drawing/2014/main" id="{9B7B9775-31FE-70F7-3DC0-A62F043019FF}"/>
              </a:ext>
            </a:extLst>
          </p:cNvPr>
          <p:cNvPicPr>
            <a:picLocks noChangeAspect="1"/>
          </p:cNvPicPr>
          <p:nvPr/>
        </p:nvPicPr>
        <p:blipFill>
          <a:blip r:embed="rId3"/>
          <a:stretch>
            <a:fillRect/>
          </a:stretch>
        </p:blipFill>
        <p:spPr>
          <a:xfrm>
            <a:off x="6367519" y="126267"/>
            <a:ext cx="5824481" cy="3421260"/>
          </a:xfrm>
          <a:prstGeom prst="rect">
            <a:avLst/>
          </a:prstGeom>
        </p:spPr>
      </p:pic>
      <p:sp>
        <p:nvSpPr>
          <p:cNvPr id="3" name="Content Placeholder 2">
            <a:extLst>
              <a:ext uri="{FF2B5EF4-FFF2-40B4-BE49-F238E27FC236}">
                <a16:creationId xmlns:a16="http://schemas.microsoft.com/office/drawing/2014/main" id="{A3C17376-BBE2-B14B-EE7B-9F09F993B114}"/>
              </a:ext>
            </a:extLst>
          </p:cNvPr>
          <p:cNvSpPr>
            <a:spLocks noGrp="1"/>
          </p:cNvSpPr>
          <p:nvPr>
            <p:ph idx="1"/>
          </p:nvPr>
        </p:nvSpPr>
        <p:spPr>
          <a:xfrm>
            <a:off x="838200" y="707572"/>
            <a:ext cx="5540829" cy="2231571"/>
          </a:xfrm>
        </p:spPr>
        <p:txBody>
          <a:bodyPr>
            <a:noAutofit/>
          </a:bodyPr>
          <a:lstStyle/>
          <a:p>
            <a:pPr>
              <a:lnSpc>
                <a:spcPct val="170000"/>
              </a:lnSpc>
            </a:pPr>
            <a:r>
              <a:rPr lang="en-IN" sz="1600" dirty="0">
                <a:latin typeface="Arial" panose="020B0604020202020204" pitchFamily="34" charset="0"/>
                <a:cs typeface="Arial" panose="020B0604020202020204" pitchFamily="34" charset="0"/>
              </a:rPr>
              <a:t>According to global burden of disease 2021, air pollution is the second leading cause of death ,surpassed only by high blood pressure.</a:t>
            </a:r>
          </a:p>
          <a:p>
            <a:pPr>
              <a:lnSpc>
                <a:spcPct val="170000"/>
              </a:lnSpc>
            </a:pPr>
            <a:r>
              <a:rPr lang="en-IN" sz="1600" dirty="0">
                <a:latin typeface="Arial" panose="020B0604020202020204" pitchFamily="34" charset="0"/>
                <a:cs typeface="Arial" panose="020B0604020202020204" pitchFamily="34" charset="0"/>
              </a:rPr>
              <a:t>Central and South Asia regions are worst affected by air pollution and India is one of them .</a:t>
            </a:r>
          </a:p>
          <a:p>
            <a:endParaRPr lang="en-IN" sz="1600" dirty="0">
              <a:latin typeface="Arial" panose="020B0604020202020204" pitchFamily="34" charset="0"/>
              <a:cs typeface="Arial" panose="020B0604020202020204" pitchFamily="34" charset="0"/>
            </a:endParaRPr>
          </a:p>
          <a:p>
            <a:endParaRPr lang="en-IN" sz="16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3797EA9A-F86D-7545-1F40-D9E4EB8E7F67}"/>
              </a:ext>
            </a:extLst>
          </p:cNvPr>
          <p:cNvSpPr txBox="1"/>
          <p:nvPr/>
        </p:nvSpPr>
        <p:spPr>
          <a:xfrm>
            <a:off x="6236890" y="3777343"/>
            <a:ext cx="5552338" cy="263200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600" dirty="0">
                <a:latin typeface="Arial" panose="020B0604020202020204" pitchFamily="34" charset="0"/>
                <a:cs typeface="Arial" panose="020B0604020202020204" pitchFamily="34" charset="0"/>
              </a:rPr>
              <a:t>The WHO Air quality guidelines are a set of evidence-based recommendations of limit values for specific air pollutants developed to help countries achieve air quality that protects public health.</a:t>
            </a:r>
          </a:p>
          <a:p>
            <a:pPr marL="285750" indent="-285750">
              <a:lnSpc>
                <a:spcPct val="150000"/>
              </a:lnSpc>
              <a:buFont typeface="Arial" panose="020B0604020202020204" pitchFamily="34" charset="0"/>
              <a:buChar char="•"/>
            </a:pPr>
            <a:r>
              <a:rPr lang="en-US" sz="1600" dirty="0">
                <a:latin typeface="Arial" panose="020B0604020202020204" pitchFamily="34" charset="0"/>
                <a:cs typeface="Arial" panose="020B0604020202020204" pitchFamily="34" charset="0"/>
              </a:rPr>
              <a:t>The WHO Air quality guidelines recommend levels and interim targets for common air pollutants: PM, O3, NO2, and SO2.</a:t>
            </a:r>
            <a:endParaRPr lang="en-IN"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12258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C88E31-4E32-4CB0-5D7C-ACABBFB6532D}"/>
              </a:ext>
            </a:extLst>
          </p:cNvPr>
          <p:cNvSpPr>
            <a:spLocks noGrp="1"/>
          </p:cNvSpPr>
          <p:nvPr>
            <p:ph idx="1"/>
          </p:nvPr>
        </p:nvSpPr>
        <p:spPr>
          <a:xfrm>
            <a:off x="838199" y="804510"/>
            <a:ext cx="6270171" cy="3041719"/>
          </a:xfrm>
        </p:spPr>
        <p:txBody>
          <a:bodyPr>
            <a:normAutofit/>
          </a:bodyPr>
          <a:lstStyle/>
          <a:p>
            <a:pPr>
              <a:lnSpc>
                <a:spcPct val="150000"/>
              </a:lnSpc>
            </a:pPr>
            <a:r>
              <a:rPr lang="en-US" sz="1600" dirty="0">
                <a:latin typeface="Arial" panose="020B0604020202020204" pitchFamily="34" charset="0"/>
                <a:cs typeface="Arial" panose="020B0604020202020204" pitchFamily="34" charset="0"/>
              </a:rPr>
              <a:t>India was the Third most polluted country in the world in 2023.</a:t>
            </a:r>
          </a:p>
          <a:p>
            <a:pPr>
              <a:lnSpc>
                <a:spcPct val="150000"/>
              </a:lnSpc>
            </a:pPr>
            <a:r>
              <a:rPr lang="en-US" sz="1600" dirty="0">
                <a:latin typeface="Arial" panose="020B0604020202020204" pitchFamily="34" charset="0"/>
                <a:cs typeface="Arial" panose="020B0604020202020204" pitchFamily="34" charset="0"/>
              </a:rPr>
              <a:t>In 2019, 0.98 Million premature deaths were claimed by ambient air pollution and 0.61 Million by indoor air pollution.</a:t>
            </a:r>
          </a:p>
          <a:p>
            <a:pPr>
              <a:lnSpc>
                <a:spcPct val="150000"/>
              </a:lnSpc>
            </a:pPr>
            <a:r>
              <a:rPr lang="en-US" sz="1600" dirty="0">
                <a:latin typeface="Arial" panose="020B0604020202020204" pitchFamily="34" charset="0"/>
                <a:cs typeface="Arial" panose="020B0604020202020204" pitchFamily="34" charset="0"/>
              </a:rPr>
              <a:t>Out of top 50 most polluted cities in the world, 42 belonged to India.</a:t>
            </a:r>
          </a:p>
          <a:p>
            <a:pPr>
              <a:lnSpc>
                <a:spcPct val="150000"/>
              </a:lnSpc>
            </a:pPr>
            <a:r>
              <a:rPr lang="en-US" sz="1600" dirty="0">
                <a:latin typeface="Arial" panose="020B0604020202020204" pitchFamily="34" charset="0"/>
                <a:cs typeface="Arial" panose="020B0604020202020204" pitchFamily="34" charset="0"/>
              </a:rPr>
              <a:t>Cities located on Indo-Gangetic plains and metropolitan cities like Chennai, Mumbai and Kolkata are most affected.</a:t>
            </a:r>
          </a:p>
          <a:p>
            <a:endParaRPr lang="en-IN" dirty="0"/>
          </a:p>
        </p:txBody>
      </p:sp>
      <p:sp>
        <p:nvSpPr>
          <p:cNvPr id="5" name="Oval 4">
            <a:extLst>
              <a:ext uri="{FF2B5EF4-FFF2-40B4-BE49-F238E27FC236}">
                <a16:creationId xmlns:a16="http://schemas.microsoft.com/office/drawing/2014/main" id="{19070DE6-ED93-03D1-BA7A-0EB042DDD813}"/>
              </a:ext>
            </a:extLst>
          </p:cNvPr>
          <p:cNvSpPr/>
          <p:nvPr/>
        </p:nvSpPr>
        <p:spPr>
          <a:xfrm>
            <a:off x="957943" y="3977890"/>
            <a:ext cx="2677886" cy="2618853"/>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b="1" dirty="0">
                <a:solidFill>
                  <a:schemeClr val="bg1"/>
                </a:solidFill>
              </a:rPr>
              <a:t>17.8% of total deaths in 2019</a:t>
            </a:r>
          </a:p>
        </p:txBody>
      </p:sp>
      <p:sp>
        <p:nvSpPr>
          <p:cNvPr id="6" name="Oval 5">
            <a:extLst>
              <a:ext uri="{FF2B5EF4-FFF2-40B4-BE49-F238E27FC236}">
                <a16:creationId xmlns:a16="http://schemas.microsoft.com/office/drawing/2014/main" id="{4B4DE3FB-3EE5-C9B9-4E7F-A752E600DD5D}"/>
              </a:ext>
            </a:extLst>
          </p:cNvPr>
          <p:cNvSpPr/>
          <p:nvPr/>
        </p:nvSpPr>
        <p:spPr>
          <a:xfrm>
            <a:off x="4256314" y="3977890"/>
            <a:ext cx="2677886" cy="2492829"/>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b="1" dirty="0">
                <a:solidFill>
                  <a:schemeClr val="bg1"/>
                </a:solidFill>
              </a:rPr>
              <a:t>Loss of economy</a:t>
            </a:r>
          </a:p>
          <a:p>
            <a:pPr algn="ctr"/>
            <a:r>
              <a:rPr lang="en-IN" b="1" dirty="0">
                <a:solidFill>
                  <a:schemeClr val="bg1"/>
                </a:solidFill>
              </a:rPr>
              <a:t>$38.6B ~1.3% of GDP</a:t>
            </a:r>
          </a:p>
        </p:txBody>
      </p:sp>
      <p:sp>
        <p:nvSpPr>
          <p:cNvPr id="7" name="Oval 6">
            <a:extLst>
              <a:ext uri="{FF2B5EF4-FFF2-40B4-BE49-F238E27FC236}">
                <a16:creationId xmlns:a16="http://schemas.microsoft.com/office/drawing/2014/main" id="{6026D141-26EC-9D24-1FEC-B6F651EB7824}"/>
              </a:ext>
            </a:extLst>
          </p:cNvPr>
          <p:cNvSpPr/>
          <p:nvPr/>
        </p:nvSpPr>
        <p:spPr>
          <a:xfrm>
            <a:off x="7707085" y="3977890"/>
            <a:ext cx="2677885" cy="2492829"/>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IN" b="1" dirty="0">
                <a:solidFill>
                  <a:schemeClr val="bg1"/>
                </a:solidFill>
              </a:rPr>
              <a:t>Life expectancy decreased by 5.3 years</a:t>
            </a:r>
          </a:p>
        </p:txBody>
      </p:sp>
      <p:pic>
        <p:nvPicPr>
          <p:cNvPr id="8" name="Picture 7">
            <a:extLst>
              <a:ext uri="{FF2B5EF4-FFF2-40B4-BE49-F238E27FC236}">
                <a16:creationId xmlns:a16="http://schemas.microsoft.com/office/drawing/2014/main" id="{68B6C30B-9498-D526-E15B-58D19B736B79}"/>
              </a:ext>
            </a:extLst>
          </p:cNvPr>
          <p:cNvPicPr>
            <a:picLocks noChangeAspect="1"/>
          </p:cNvPicPr>
          <p:nvPr/>
        </p:nvPicPr>
        <p:blipFill>
          <a:blip r:embed="rId2"/>
          <a:stretch>
            <a:fillRect/>
          </a:stretch>
        </p:blipFill>
        <p:spPr>
          <a:xfrm>
            <a:off x="6934201" y="661726"/>
            <a:ext cx="4375522" cy="3041720"/>
          </a:xfrm>
          <a:prstGeom prst="rect">
            <a:avLst/>
          </a:prstGeom>
        </p:spPr>
      </p:pic>
    </p:spTree>
    <p:extLst>
      <p:ext uri="{BB962C8B-B14F-4D97-AF65-F5344CB8AC3E}">
        <p14:creationId xmlns:p14="http://schemas.microsoft.com/office/powerpoint/2010/main" val="3214680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3A0ECD-574D-5161-AADC-14DC849A1F0B}"/>
              </a:ext>
            </a:extLst>
          </p:cNvPr>
          <p:cNvSpPr txBox="1"/>
          <p:nvPr/>
        </p:nvSpPr>
        <p:spPr>
          <a:xfrm>
            <a:off x="4444592" y="744556"/>
            <a:ext cx="3646714" cy="5293757"/>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Delhi's air quality consistently ranks poorly on global air pollution indices.</a:t>
            </a:r>
          </a:p>
          <a:p>
            <a:pPr marL="285750" indent="-285750">
              <a:buFont typeface="Arial" panose="020B0604020202020204" pitchFamily="34" charset="0"/>
              <a:buChar char="•"/>
            </a:pPr>
            <a:r>
              <a:rPr lang="en-US" sz="1600" dirty="0" err="1">
                <a:latin typeface="Arial" panose="020B0604020202020204" pitchFamily="34" charset="0"/>
                <a:cs typeface="Arial" panose="020B0604020202020204" pitchFamily="34" charset="0"/>
              </a:rPr>
              <a:t>IQAir's</a:t>
            </a:r>
            <a:r>
              <a:rPr lang="en-US" sz="1600" dirty="0">
                <a:latin typeface="Arial" panose="020B0604020202020204" pitchFamily="34" charset="0"/>
                <a:cs typeface="Arial" panose="020B0604020202020204" pitchFamily="34" charset="0"/>
              </a:rPr>
              <a:t> World Air Quality Report -  Delhi has topped the charts in being world’s most polluted capital city consistently since 2018 to 2023.</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In latest 2023 report, Delhi was ranked as the world's most polluted capital city and the third most polluted city overall.</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Analysis of </a:t>
            </a:r>
            <a:r>
              <a:rPr lang="en-US" sz="1600" dirty="0" err="1">
                <a:latin typeface="Arial" panose="020B0604020202020204" pitchFamily="34" charset="0"/>
                <a:cs typeface="Arial" panose="020B0604020202020204" pitchFamily="34" charset="0"/>
              </a:rPr>
              <a:t>IQAir’s</a:t>
            </a:r>
            <a:r>
              <a:rPr lang="en-US" sz="1600" dirty="0">
                <a:latin typeface="Arial" panose="020B0604020202020204" pitchFamily="34" charset="0"/>
                <a:cs typeface="Arial" panose="020B0604020202020204" pitchFamily="34" charset="0"/>
              </a:rPr>
              <a:t> data by Greenpeace South Asia reveals that PM2.5 air pollution claimed approximately 54,000 lives in India’s national capital in 2020</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Estimated economic loss of around $8.1 billion per year, which is approximately 13% of the city's annual GDP</a:t>
            </a:r>
            <a:r>
              <a:rPr lang="en-US" dirty="0"/>
              <a:t>.</a:t>
            </a:r>
            <a:endParaRPr lang="en-IN" dirty="0"/>
          </a:p>
        </p:txBody>
      </p:sp>
      <p:pic>
        <p:nvPicPr>
          <p:cNvPr id="3" name="Picture 2">
            <a:extLst>
              <a:ext uri="{FF2B5EF4-FFF2-40B4-BE49-F238E27FC236}">
                <a16:creationId xmlns:a16="http://schemas.microsoft.com/office/drawing/2014/main" id="{B9F20B3D-5700-1344-61F5-F757923420CF}"/>
              </a:ext>
            </a:extLst>
          </p:cNvPr>
          <p:cNvPicPr>
            <a:picLocks noChangeAspect="1"/>
          </p:cNvPicPr>
          <p:nvPr/>
        </p:nvPicPr>
        <p:blipFill>
          <a:blip r:embed="rId3"/>
          <a:stretch>
            <a:fillRect/>
          </a:stretch>
        </p:blipFill>
        <p:spPr>
          <a:xfrm>
            <a:off x="237988" y="3901755"/>
            <a:ext cx="4061870" cy="2755631"/>
          </a:xfrm>
          <a:prstGeom prst="rect">
            <a:avLst/>
          </a:prstGeom>
        </p:spPr>
      </p:pic>
      <p:pic>
        <p:nvPicPr>
          <p:cNvPr id="5" name="Picture 4">
            <a:extLst>
              <a:ext uri="{FF2B5EF4-FFF2-40B4-BE49-F238E27FC236}">
                <a16:creationId xmlns:a16="http://schemas.microsoft.com/office/drawing/2014/main" id="{DF3A9BC5-5587-933F-160D-59982E4CA52C}"/>
              </a:ext>
            </a:extLst>
          </p:cNvPr>
          <p:cNvPicPr>
            <a:picLocks noChangeAspect="1"/>
          </p:cNvPicPr>
          <p:nvPr/>
        </p:nvPicPr>
        <p:blipFill>
          <a:blip r:embed="rId4"/>
          <a:stretch>
            <a:fillRect/>
          </a:stretch>
        </p:blipFill>
        <p:spPr>
          <a:xfrm>
            <a:off x="237988" y="758722"/>
            <a:ext cx="4061870" cy="2633700"/>
          </a:xfrm>
          <a:prstGeom prst="rect">
            <a:avLst/>
          </a:prstGeom>
        </p:spPr>
      </p:pic>
      <p:pic>
        <p:nvPicPr>
          <p:cNvPr id="6" name="Picture 5">
            <a:extLst>
              <a:ext uri="{FF2B5EF4-FFF2-40B4-BE49-F238E27FC236}">
                <a16:creationId xmlns:a16="http://schemas.microsoft.com/office/drawing/2014/main" id="{6856AD8C-7E9C-F76D-8669-E0FAFBB4F975}"/>
              </a:ext>
            </a:extLst>
          </p:cNvPr>
          <p:cNvPicPr>
            <a:picLocks noChangeAspect="1"/>
          </p:cNvPicPr>
          <p:nvPr/>
        </p:nvPicPr>
        <p:blipFill>
          <a:blip r:embed="rId5"/>
          <a:stretch>
            <a:fillRect/>
          </a:stretch>
        </p:blipFill>
        <p:spPr>
          <a:xfrm>
            <a:off x="7977730" y="4013720"/>
            <a:ext cx="4061870" cy="2643666"/>
          </a:xfrm>
          <a:prstGeom prst="rect">
            <a:avLst/>
          </a:prstGeom>
        </p:spPr>
      </p:pic>
      <p:pic>
        <p:nvPicPr>
          <p:cNvPr id="7" name="Picture 6">
            <a:extLst>
              <a:ext uri="{FF2B5EF4-FFF2-40B4-BE49-F238E27FC236}">
                <a16:creationId xmlns:a16="http://schemas.microsoft.com/office/drawing/2014/main" id="{D1863CDA-6E45-2A22-202B-1C12A2C1444A}"/>
              </a:ext>
            </a:extLst>
          </p:cNvPr>
          <p:cNvPicPr>
            <a:picLocks noChangeAspect="1"/>
          </p:cNvPicPr>
          <p:nvPr/>
        </p:nvPicPr>
        <p:blipFill>
          <a:blip r:embed="rId6"/>
          <a:stretch>
            <a:fillRect/>
          </a:stretch>
        </p:blipFill>
        <p:spPr>
          <a:xfrm>
            <a:off x="7977729" y="744556"/>
            <a:ext cx="4061869" cy="2633700"/>
          </a:xfrm>
          <a:prstGeom prst="rect">
            <a:avLst/>
          </a:prstGeom>
        </p:spPr>
      </p:pic>
    </p:spTree>
    <p:extLst>
      <p:ext uri="{BB962C8B-B14F-4D97-AF65-F5344CB8AC3E}">
        <p14:creationId xmlns:p14="http://schemas.microsoft.com/office/powerpoint/2010/main" val="41894808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112BF-AE89-8404-44E6-0A91C1EE7FDE}"/>
              </a:ext>
            </a:extLst>
          </p:cNvPr>
          <p:cNvSpPr>
            <a:spLocks noGrp="1"/>
          </p:cNvSpPr>
          <p:nvPr>
            <p:ph type="title"/>
          </p:nvPr>
        </p:nvSpPr>
        <p:spPr>
          <a:xfrm>
            <a:off x="3347357" y="315689"/>
            <a:ext cx="5497286" cy="625475"/>
          </a:xfrm>
        </p:spPr>
        <p:txBody>
          <a:bodyPr>
            <a:normAutofit/>
          </a:bodyPr>
          <a:lstStyle/>
          <a:p>
            <a:pPr algn="ctr"/>
            <a:r>
              <a:rPr lang="en-IN" sz="2800" b="1" dirty="0">
                <a:latin typeface="Arial" panose="020B0604020202020204" pitchFamily="34" charset="0"/>
                <a:cs typeface="Arial" panose="020B0604020202020204" pitchFamily="34" charset="0"/>
              </a:rPr>
              <a:t>Government initiatives</a:t>
            </a:r>
          </a:p>
        </p:txBody>
      </p:sp>
      <p:graphicFrame>
        <p:nvGraphicFramePr>
          <p:cNvPr id="4" name="Content Placeholder 3">
            <a:extLst>
              <a:ext uri="{FF2B5EF4-FFF2-40B4-BE49-F238E27FC236}">
                <a16:creationId xmlns:a16="http://schemas.microsoft.com/office/drawing/2014/main" id="{3CEE1E73-0D9C-CADD-58B4-8C2D50D83410}"/>
              </a:ext>
            </a:extLst>
          </p:cNvPr>
          <p:cNvGraphicFramePr>
            <a:graphicFrameLocks noGrp="1"/>
          </p:cNvGraphicFramePr>
          <p:nvPr>
            <p:ph idx="1"/>
            <p:extLst>
              <p:ext uri="{D42A27DB-BD31-4B8C-83A1-F6EECF244321}">
                <p14:modId xmlns:p14="http://schemas.microsoft.com/office/powerpoint/2010/main" val="2229808968"/>
              </p:ext>
            </p:extLst>
          </p:nvPr>
        </p:nvGraphicFramePr>
        <p:xfrm>
          <a:off x="838200" y="941164"/>
          <a:ext cx="11038113" cy="5803625"/>
        </p:xfrm>
        <a:graphic>
          <a:graphicData uri="http://schemas.openxmlformats.org/drawingml/2006/table">
            <a:tbl>
              <a:tblPr firstRow="1" bandRow="1">
                <a:tableStyleId>{3B4B98B0-60AC-42C2-AFA5-B58CD77FA1E5}</a:tableStyleId>
              </a:tblPr>
              <a:tblGrid>
                <a:gridCol w="788436">
                  <a:extLst>
                    <a:ext uri="{9D8B030D-6E8A-4147-A177-3AD203B41FA5}">
                      <a16:colId xmlns:a16="http://schemas.microsoft.com/office/drawing/2014/main" val="1549821187"/>
                    </a:ext>
                  </a:extLst>
                </a:gridCol>
                <a:gridCol w="2456724">
                  <a:extLst>
                    <a:ext uri="{9D8B030D-6E8A-4147-A177-3AD203B41FA5}">
                      <a16:colId xmlns:a16="http://schemas.microsoft.com/office/drawing/2014/main" val="4015307237"/>
                    </a:ext>
                  </a:extLst>
                </a:gridCol>
                <a:gridCol w="7792953">
                  <a:extLst>
                    <a:ext uri="{9D8B030D-6E8A-4147-A177-3AD203B41FA5}">
                      <a16:colId xmlns:a16="http://schemas.microsoft.com/office/drawing/2014/main" val="3578726947"/>
                    </a:ext>
                  </a:extLst>
                </a:gridCol>
              </a:tblGrid>
              <a:tr h="2085065">
                <a:tc>
                  <a:txBody>
                    <a:bodyPr/>
                    <a:lstStyle/>
                    <a:p>
                      <a:r>
                        <a:rPr lang="en-IN" b="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b="0" dirty="0"/>
                        <a:t>National Air Quality Monitoring Program (NAM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sz="1600" b="0" dirty="0">
                          <a:latin typeface="Arial" panose="020B0604020202020204" pitchFamily="34" charset="0"/>
                          <a:cs typeface="Arial" panose="020B0604020202020204" pitchFamily="34" charset="0"/>
                        </a:rPr>
                        <a:t>Nation-wide program for ambient air quality monitoring to monitor 4 pollutants i.e. SO2, NO, PM10, PM2.5. T</a:t>
                      </a:r>
                      <a:r>
                        <a:rPr lang="en-US" sz="1600" b="0" dirty="0">
                          <a:latin typeface="Arial" panose="020B0604020202020204" pitchFamily="34" charset="0"/>
                          <a:cs typeface="Arial" panose="020B0604020202020204" pitchFamily="34" charset="0"/>
                        </a:rPr>
                        <a:t>he objectives is to determine the status and trends of ambient air quality, ascertain whether the prescribed ambient air quality standards are violated, identify non-attainment cities, obtain the knowledge and understanding necessary for developing preventive and corrective measures, and understand the natural cleansing processes undergoing in the environment through pollution dilution, dispersion, wind-based movement, dry deposition, precipitation, and chemical transformation of the pollutants generated.</a:t>
                      </a:r>
                      <a:endParaRPr lang="en-IN" sz="16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02596076"/>
                  </a:ext>
                </a:extLst>
              </a:tr>
              <a:tr h="810902">
                <a:tc>
                  <a:txBody>
                    <a:bodyPr/>
                    <a:lstStyle/>
                    <a:p>
                      <a:r>
                        <a:rPr lang="en-IN"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IN" dirty="0"/>
                        <a:t>National Ambient Air Quality Standards (NAAQ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IN" sz="1600" kern="1200" dirty="0">
                          <a:solidFill>
                            <a:schemeClr val="tx1"/>
                          </a:solidFill>
                          <a:effectLst/>
                          <a:latin typeface="Arial" panose="020B0604020202020204" pitchFamily="34" charset="0"/>
                          <a:ea typeface="+mn-ea"/>
                          <a:cs typeface="Arial" panose="020B0604020202020204" pitchFamily="34" charset="0"/>
                        </a:rPr>
                        <a:t>These are the standards for ambient air quality with reference to various identified pollutant notified by the CPCB under the Air (Prevention and Control of Pollution) Act, 1981.</a:t>
                      </a:r>
                      <a:r>
                        <a:rPr lang="en-US" sz="1600" dirty="0">
                          <a:latin typeface="Arial" panose="020B0604020202020204" pitchFamily="34" charset="0"/>
                          <a:cs typeface="Arial" panose="020B0604020202020204" pitchFamily="34" charset="0"/>
                        </a:rPr>
                        <a:t>The major objectives are to specify the required air quality levels and safety limits to safeguard vegetation, human health and property; serve as a uniform national benchmark for air quality assessment; and determine the scope and requirements for air quality monitoring programs across the country.</a:t>
                      </a:r>
                      <a:endParaRPr lang="en-IN"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565866"/>
                  </a:ext>
                </a:extLst>
              </a:tr>
              <a:tr h="810902">
                <a:tc>
                  <a:txBody>
                    <a:bodyPr/>
                    <a:lstStyle/>
                    <a:p>
                      <a:r>
                        <a:rPr lang="en-IN"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dirty="0"/>
                        <a:t>National Air Quality Index (AQ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sz="1600" kern="1200" dirty="0">
                          <a:solidFill>
                            <a:schemeClr val="tx1"/>
                          </a:solidFill>
                          <a:effectLst/>
                          <a:latin typeface="Arial" panose="020B0604020202020204" pitchFamily="34" charset="0"/>
                          <a:ea typeface="+mn-ea"/>
                          <a:cs typeface="Arial" panose="020B0604020202020204" pitchFamily="34" charset="0"/>
                        </a:rPr>
                        <a:t>Tool for the effective communication of air quality status to people in terms, which are easy to understand. It transforms complex air quality data of various pollutants into a single number (index value), nomenclature and colour</a:t>
                      </a:r>
                      <a:r>
                        <a:rPr lang="en-IN" sz="1800" kern="1200" dirty="0">
                          <a:solidFill>
                            <a:schemeClr val="tx1"/>
                          </a:solidFill>
                          <a:effectLst/>
                          <a:latin typeface="+mn-lt"/>
                          <a:ea typeface="+mn-ea"/>
                          <a:cs typeface="+mn-cs"/>
                        </a:rPr>
                        <a:t>. </a:t>
                      </a:r>
                      <a:endParaRPr lang="en-IN"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2367933"/>
                  </a:ext>
                </a:extLst>
              </a:tr>
              <a:tr h="810902">
                <a:tc>
                  <a:txBody>
                    <a:bodyPr/>
                    <a:lstStyle/>
                    <a:p>
                      <a:r>
                        <a:rPr lang="en-IN"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dirty="0"/>
                        <a:t>Environment Protection(Prevention and Control) Autho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latin typeface="Arial" panose="020B0604020202020204" pitchFamily="34" charset="0"/>
                          <a:cs typeface="Arial" panose="020B0604020202020204" pitchFamily="34" charset="0"/>
                        </a:rPr>
                        <a:t>It is a central government constituted committee for the National Capital Region (NCR) in compliance with the Environment Protection Act, 1986  to address air pollution.  EPCA's primary role is to monitor and manage air quality in the NCR region, which includes issuing directions to the states, conducting site inspections, and imposing fines for non-compliance.</a:t>
                      </a:r>
                      <a:endParaRPr lang="en-IN"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25061918"/>
                  </a:ext>
                </a:extLst>
              </a:tr>
            </a:tbl>
          </a:graphicData>
        </a:graphic>
      </p:graphicFrame>
    </p:spTree>
    <p:extLst>
      <p:ext uri="{BB962C8B-B14F-4D97-AF65-F5344CB8AC3E}">
        <p14:creationId xmlns:p14="http://schemas.microsoft.com/office/powerpoint/2010/main" val="199219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53BC579E-C69F-E61B-3397-E24B750432B0}"/>
              </a:ext>
            </a:extLst>
          </p:cNvPr>
          <p:cNvGraphicFramePr>
            <a:graphicFrameLocks noGrp="1"/>
          </p:cNvGraphicFramePr>
          <p:nvPr>
            <p:extLst>
              <p:ext uri="{D42A27DB-BD31-4B8C-83A1-F6EECF244321}">
                <p14:modId xmlns:p14="http://schemas.microsoft.com/office/powerpoint/2010/main" val="4053503087"/>
              </p:ext>
            </p:extLst>
          </p:nvPr>
        </p:nvGraphicFramePr>
        <p:xfrm>
          <a:off x="925285" y="775382"/>
          <a:ext cx="11038113" cy="6082618"/>
        </p:xfrm>
        <a:graphic>
          <a:graphicData uri="http://schemas.openxmlformats.org/drawingml/2006/table">
            <a:tbl>
              <a:tblPr firstRow="1" bandRow="1">
                <a:tableStyleId>{3B4B98B0-60AC-42C2-AFA5-B58CD77FA1E5}</a:tableStyleId>
              </a:tblPr>
              <a:tblGrid>
                <a:gridCol w="788436">
                  <a:extLst>
                    <a:ext uri="{9D8B030D-6E8A-4147-A177-3AD203B41FA5}">
                      <a16:colId xmlns:a16="http://schemas.microsoft.com/office/drawing/2014/main" val="2746388387"/>
                    </a:ext>
                  </a:extLst>
                </a:gridCol>
                <a:gridCol w="2456724">
                  <a:extLst>
                    <a:ext uri="{9D8B030D-6E8A-4147-A177-3AD203B41FA5}">
                      <a16:colId xmlns:a16="http://schemas.microsoft.com/office/drawing/2014/main" val="2940544784"/>
                    </a:ext>
                  </a:extLst>
                </a:gridCol>
                <a:gridCol w="7792953">
                  <a:extLst>
                    <a:ext uri="{9D8B030D-6E8A-4147-A177-3AD203B41FA5}">
                      <a16:colId xmlns:a16="http://schemas.microsoft.com/office/drawing/2014/main" val="1816700857"/>
                    </a:ext>
                  </a:extLst>
                </a:gridCol>
              </a:tblGrid>
              <a:tr h="1660317">
                <a:tc>
                  <a:txBody>
                    <a:bodyPr/>
                    <a:lstStyle/>
                    <a:p>
                      <a:r>
                        <a:rPr lang="en-IN"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b="0" dirty="0">
                          <a:latin typeface="Arial" panose="020B0604020202020204" pitchFamily="34" charset="0"/>
                          <a:cs typeface="Arial" panose="020B0604020202020204" pitchFamily="34" charset="0"/>
                        </a:rPr>
                        <a:t>42 Action poi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0" dirty="0">
                          <a:latin typeface="Arial" panose="020B0604020202020204" pitchFamily="34" charset="0"/>
                          <a:cs typeface="Arial" panose="020B0604020202020204" pitchFamily="34" charset="0"/>
                        </a:rPr>
                        <a:t>The CPCB has issued a comprehensive set of directions under Section 18 (1) (b) of Air (Prevention and Control of Pollution) Act, 1986, for the implementation of 42 measures to mitigate air pollution in the major cities, including Delhi and NCR comprising action points to counter air pollution, which include control and mitigation measures related to vehicular emissions, re-suspension of road dust and other fugitive emissions, bio-mass/municipal solid waste (MSW) burning, industrial pollution, construction and demolition (C&amp;D) activities, and other general steps</a:t>
                      </a:r>
                      <a:endParaRPr lang="en-IN" sz="16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3098210"/>
                  </a:ext>
                </a:extLst>
              </a:tr>
              <a:tr h="759806">
                <a:tc>
                  <a:txBody>
                    <a:bodyPr/>
                    <a:lstStyle/>
                    <a:p>
                      <a:r>
                        <a:rPr lang="en-IN"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dirty="0"/>
                        <a:t>Graded Response Action Plan (GRA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latin typeface="Arial" panose="020B0604020202020204" pitchFamily="34" charset="0"/>
                          <a:cs typeface="Arial" panose="020B0604020202020204" pitchFamily="34" charset="0"/>
                        </a:rPr>
                        <a:t>The government has notified a graded response action plan for Delhi and the NCR region, which comprises the graded measures for each source framed according to the AQI categories. </a:t>
                      </a:r>
                      <a:endParaRPr lang="en-IN" sz="16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74504637"/>
                  </a:ext>
                </a:extLst>
              </a:tr>
              <a:tr h="3461338">
                <a:tc>
                  <a:txBody>
                    <a:bodyPr/>
                    <a:lstStyle/>
                    <a:p>
                      <a:r>
                        <a:rPr lang="en-IN" dirty="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IN" dirty="0"/>
                        <a:t>Other measu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Wingdings" panose="05000000000000000000" pitchFamily="2" charset="2"/>
                        <a:buChar char="Ø"/>
                      </a:pPr>
                      <a:r>
                        <a:rPr lang="en-IN" sz="1600" kern="1200" dirty="0">
                          <a:solidFill>
                            <a:schemeClr val="tx1"/>
                          </a:solidFill>
                          <a:effectLst/>
                          <a:latin typeface="Arial" panose="020B0604020202020204" pitchFamily="34" charset="0"/>
                          <a:ea typeface="+mn-ea"/>
                          <a:cs typeface="Arial" panose="020B0604020202020204" pitchFamily="34" charset="0"/>
                        </a:rPr>
                        <a:t>Advanced vehicle emission and fuel quality standards– BSIV from 2017 and BS-VI from 2020. </a:t>
                      </a:r>
                    </a:p>
                    <a:p>
                      <a:pPr marL="285750" indent="-285750">
                        <a:buFont typeface="Wingdings" panose="05000000000000000000" pitchFamily="2" charset="2"/>
                        <a:buChar char="Ø"/>
                      </a:pPr>
                      <a:r>
                        <a:rPr lang="en-IN" sz="1600" kern="1200" dirty="0">
                          <a:solidFill>
                            <a:schemeClr val="tx1"/>
                          </a:solidFill>
                          <a:effectLst/>
                          <a:latin typeface="Arial" panose="020B0604020202020204" pitchFamily="34" charset="0"/>
                          <a:ea typeface="+mn-ea"/>
                          <a:cs typeface="Arial" panose="020B0604020202020204" pitchFamily="34" charset="0"/>
                        </a:rPr>
                        <a:t>Introducing a National Electric Mobility Mission Plan 2020. </a:t>
                      </a:r>
                    </a:p>
                    <a:p>
                      <a:pPr marL="285750" indent="-285750">
                        <a:buFont typeface="Wingdings" panose="05000000000000000000" pitchFamily="2" charset="2"/>
                        <a:buChar char="Ø"/>
                      </a:pPr>
                      <a:r>
                        <a:rPr lang="en-IN" sz="1600" kern="1200" dirty="0">
                          <a:solidFill>
                            <a:schemeClr val="tx1"/>
                          </a:solidFill>
                          <a:effectLst/>
                          <a:latin typeface="Arial" panose="020B0604020202020204" pitchFamily="34" charset="0"/>
                          <a:ea typeface="+mn-ea"/>
                          <a:cs typeface="Arial" panose="020B0604020202020204" pitchFamily="34" charset="0"/>
                        </a:rPr>
                        <a:t>Introducing gas as an automotive fuel in many cities. </a:t>
                      </a:r>
                    </a:p>
                    <a:p>
                      <a:pPr marL="285750" indent="-285750">
                        <a:buFont typeface="Wingdings" panose="05000000000000000000" pitchFamily="2" charset="2"/>
                        <a:buChar char="Ø"/>
                      </a:pPr>
                      <a:r>
                        <a:rPr lang="en-IN" sz="1600" kern="1200" dirty="0">
                          <a:solidFill>
                            <a:schemeClr val="tx1"/>
                          </a:solidFill>
                          <a:effectLst/>
                          <a:latin typeface="Arial" panose="020B0604020202020204" pitchFamily="34" charset="0"/>
                          <a:ea typeface="+mn-ea"/>
                          <a:cs typeface="Arial" panose="020B0604020202020204" pitchFamily="34" charset="0"/>
                        </a:rPr>
                        <a:t>Introduction and enhancement of the metro-rail and bus-based public transport systems in selected cities. </a:t>
                      </a:r>
                    </a:p>
                    <a:p>
                      <a:pPr marL="285750" indent="-285750">
                        <a:buFont typeface="Wingdings" panose="05000000000000000000" pitchFamily="2" charset="2"/>
                        <a:buChar char="Ø"/>
                      </a:pPr>
                      <a:r>
                        <a:rPr lang="en-IN" sz="1600" kern="1200" dirty="0">
                          <a:solidFill>
                            <a:schemeClr val="tx1"/>
                          </a:solidFill>
                          <a:effectLst/>
                          <a:latin typeface="Arial" panose="020B0604020202020204" pitchFamily="34" charset="0"/>
                          <a:ea typeface="+mn-ea"/>
                          <a:cs typeface="Arial" panose="020B0604020202020204" pitchFamily="34" charset="0"/>
                        </a:rPr>
                        <a:t>Ujjawala scheme to accelerate the LPG penetration programme for cooking in households. </a:t>
                      </a:r>
                    </a:p>
                    <a:p>
                      <a:pPr marL="285750" indent="-285750">
                        <a:buFont typeface="Wingdings" panose="05000000000000000000" pitchFamily="2" charset="2"/>
                        <a:buChar char="Ø"/>
                      </a:pPr>
                      <a:r>
                        <a:rPr lang="en-IN" sz="1600" kern="1200" dirty="0">
                          <a:solidFill>
                            <a:schemeClr val="tx1"/>
                          </a:solidFill>
                          <a:effectLst/>
                          <a:latin typeface="Arial" panose="020B0604020202020204" pitchFamily="34" charset="0"/>
                          <a:ea typeface="+mn-ea"/>
                          <a:cs typeface="Arial" panose="020B0604020202020204" pitchFamily="34" charset="0"/>
                        </a:rPr>
                        <a:t>Electrification to reduce kerosene consumption for lighting. </a:t>
                      </a:r>
                    </a:p>
                    <a:p>
                      <a:pPr marL="285750" indent="-285750">
                        <a:buFont typeface="Wingdings" panose="05000000000000000000" pitchFamily="2" charset="2"/>
                        <a:buChar char="Ø"/>
                      </a:pPr>
                      <a:r>
                        <a:rPr lang="en-IN" sz="1600" kern="1200" dirty="0">
                          <a:solidFill>
                            <a:schemeClr val="tx1"/>
                          </a:solidFill>
                          <a:effectLst/>
                          <a:latin typeface="Arial" panose="020B0604020202020204" pitchFamily="34" charset="0"/>
                          <a:ea typeface="+mn-ea"/>
                          <a:cs typeface="Arial" panose="020B0604020202020204" pitchFamily="34" charset="0"/>
                        </a:rPr>
                        <a:t>Introducing an energy-efficiency labelling programme for energy-intensive home appliances such as air conditioners. </a:t>
                      </a:r>
                    </a:p>
                    <a:p>
                      <a:pPr marL="285750" indent="-285750">
                        <a:buFont typeface="Wingdings" panose="05000000000000000000" pitchFamily="2" charset="2"/>
                        <a:buChar char="Ø"/>
                      </a:pPr>
                      <a:r>
                        <a:rPr lang="en-IN" sz="1600" kern="1200" dirty="0">
                          <a:solidFill>
                            <a:schemeClr val="tx1"/>
                          </a:solidFill>
                          <a:effectLst/>
                          <a:latin typeface="Arial" panose="020B0604020202020204" pitchFamily="34" charset="0"/>
                          <a:ea typeface="+mn-ea"/>
                          <a:cs typeface="Arial" panose="020B0604020202020204" pitchFamily="34" charset="0"/>
                        </a:rPr>
                        <a:t>Notifying new stringent standards for diesel generator sets for standby power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4209937"/>
                  </a:ext>
                </a:extLst>
              </a:tr>
            </a:tbl>
          </a:graphicData>
        </a:graphic>
      </p:graphicFrame>
    </p:spTree>
    <p:extLst>
      <p:ext uri="{BB962C8B-B14F-4D97-AF65-F5344CB8AC3E}">
        <p14:creationId xmlns:p14="http://schemas.microsoft.com/office/powerpoint/2010/main" val="16203748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F879AC3-D4CE-493C-ADC7-06205677F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sp>
        <p:nvSpPr>
          <p:cNvPr id="13" name="Freeform: Shape 12">
            <a:extLst>
              <a:ext uri="{FF2B5EF4-FFF2-40B4-BE49-F238E27FC236}">
                <a16:creationId xmlns:a16="http://schemas.microsoft.com/office/drawing/2014/main" id="{736F0DFD-0954-464F-BF12-DD2E6F6E03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983504" cy="6858000"/>
          </a:xfrm>
          <a:custGeom>
            <a:avLst/>
            <a:gdLst>
              <a:gd name="connsiteX0" fmla="*/ 0 w 1983504"/>
              <a:gd name="connsiteY0" fmla="*/ 0 h 6858000"/>
              <a:gd name="connsiteX1" fmla="*/ 1376658 w 1983504"/>
              <a:gd name="connsiteY1" fmla="*/ 0 h 6858000"/>
              <a:gd name="connsiteX2" fmla="*/ 1690650 w 1983504"/>
              <a:gd name="connsiteY2" fmla="*/ 110269 h 6858000"/>
              <a:gd name="connsiteX3" fmla="*/ 1645361 w 1983504"/>
              <a:gd name="connsiteY3" fmla="*/ 135168 h 6858000"/>
              <a:gd name="connsiteX4" fmla="*/ 1373640 w 1983504"/>
              <a:gd name="connsiteY4" fmla="*/ 71141 h 6858000"/>
              <a:gd name="connsiteX5" fmla="*/ 1319295 w 1983504"/>
              <a:gd name="connsiteY5" fmla="*/ 88927 h 6858000"/>
              <a:gd name="connsiteX6" fmla="*/ 1346468 w 1983504"/>
              <a:gd name="connsiteY6" fmla="*/ 163625 h 6858000"/>
              <a:gd name="connsiteX7" fmla="*/ 1464213 w 1983504"/>
              <a:gd name="connsiteY7" fmla="*/ 192082 h 6858000"/>
              <a:gd name="connsiteX8" fmla="*/ 1648381 w 1983504"/>
              <a:gd name="connsiteY8" fmla="*/ 373491 h 6858000"/>
              <a:gd name="connsiteX9" fmla="*/ 1370620 w 1983504"/>
              <a:gd name="connsiteY9" fmla="*/ 352148 h 6858000"/>
              <a:gd name="connsiteX10" fmla="*/ 1322314 w 1983504"/>
              <a:gd name="connsiteY10" fmla="*/ 394834 h 6858000"/>
              <a:gd name="connsiteX11" fmla="*/ 1304199 w 1983504"/>
              <a:gd name="connsiteY11" fmla="*/ 451747 h 6858000"/>
              <a:gd name="connsiteX12" fmla="*/ 1222682 w 1983504"/>
              <a:gd name="connsiteY12" fmla="*/ 359262 h 6858000"/>
              <a:gd name="connsiteX13" fmla="*/ 1153242 w 1983504"/>
              <a:gd name="connsiteY13" fmla="*/ 334364 h 6858000"/>
              <a:gd name="connsiteX14" fmla="*/ 1132108 w 1983504"/>
              <a:gd name="connsiteY14" fmla="*/ 416176 h 6858000"/>
              <a:gd name="connsiteX15" fmla="*/ 1195509 w 1983504"/>
              <a:gd name="connsiteY15" fmla="*/ 505101 h 6858000"/>
              <a:gd name="connsiteX16" fmla="*/ 1364582 w 1983504"/>
              <a:gd name="connsiteY16" fmla="*/ 558458 h 6858000"/>
              <a:gd name="connsiteX17" fmla="*/ 1183434 w 1983504"/>
              <a:gd name="connsiteY17" fmla="*/ 558458 h 6858000"/>
              <a:gd name="connsiteX18" fmla="*/ 975114 w 1983504"/>
              <a:gd name="connsiteY18" fmla="*/ 522887 h 6858000"/>
              <a:gd name="connsiteX19" fmla="*/ 754716 w 1983504"/>
              <a:gd name="connsiteY19" fmla="*/ 533558 h 6858000"/>
              <a:gd name="connsiteX20" fmla="*/ 546395 w 1983504"/>
              <a:gd name="connsiteY20" fmla="*/ 462417 h 6858000"/>
              <a:gd name="connsiteX21" fmla="*/ 335056 w 1983504"/>
              <a:gd name="connsiteY21" fmla="*/ 465975 h 6858000"/>
              <a:gd name="connsiteX22" fmla="*/ 1270988 w 1983504"/>
              <a:gd name="connsiteY22" fmla="*/ 910606 h 6858000"/>
              <a:gd name="connsiteX23" fmla="*/ 1225701 w 1983504"/>
              <a:gd name="connsiteY23" fmla="*/ 921277 h 6858000"/>
              <a:gd name="connsiteX24" fmla="*/ 1165318 w 1983504"/>
              <a:gd name="connsiteY24" fmla="*/ 949734 h 6858000"/>
              <a:gd name="connsiteX25" fmla="*/ 1210606 w 1983504"/>
              <a:gd name="connsiteY25" fmla="*/ 1006647 h 6858000"/>
              <a:gd name="connsiteX26" fmla="*/ 1455156 w 1983504"/>
              <a:gd name="connsiteY26" fmla="*/ 1113358 h 6858000"/>
              <a:gd name="connsiteX27" fmla="*/ 1515538 w 1983504"/>
              <a:gd name="connsiteY27" fmla="*/ 1220069 h 6858000"/>
              <a:gd name="connsiteX28" fmla="*/ 1440060 w 1983504"/>
              <a:gd name="connsiteY28" fmla="*/ 1209399 h 6858000"/>
              <a:gd name="connsiteX29" fmla="*/ 1373640 w 1983504"/>
              <a:gd name="connsiteY29" fmla="*/ 1230741 h 6858000"/>
              <a:gd name="connsiteX30" fmla="*/ 1400810 w 1983504"/>
              <a:gd name="connsiteY30" fmla="*/ 1365909 h 6858000"/>
              <a:gd name="connsiteX31" fmla="*/ 1748012 w 1983504"/>
              <a:gd name="connsiteY31" fmla="*/ 1540204 h 6858000"/>
              <a:gd name="connsiteX32" fmla="*/ 1778203 w 1983504"/>
              <a:gd name="connsiteY32" fmla="*/ 1597117 h 6858000"/>
              <a:gd name="connsiteX33" fmla="*/ 1735936 w 1983504"/>
              <a:gd name="connsiteY33" fmla="*/ 1636245 h 6858000"/>
              <a:gd name="connsiteX34" fmla="*/ 1624228 w 1983504"/>
              <a:gd name="connsiteY34" fmla="*/ 1657587 h 6858000"/>
              <a:gd name="connsiteX35" fmla="*/ 1781223 w 1983504"/>
              <a:gd name="connsiteY35" fmla="*/ 1849668 h 6858000"/>
              <a:gd name="connsiteX36" fmla="*/ 1838587 w 1983504"/>
              <a:gd name="connsiteY36" fmla="*/ 1903025 h 6858000"/>
              <a:gd name="connsiteX37" fmla="*/ 1938218 w 1983504"/>
              <a:gd name="connsiteY37" fmla="*/ 1984836 h 6858000"/>
              <a:gd name="connsiteX38" fmla="*/ 1938218 w 1983504"/>
              <a:gd name="connsiteY38" fmla="*/ 2013292 h 6858000"/>
              <a:gd name="connsiteX39" fmla="*/ 1805376 w 1983504"/>
              <a:gd name="connsiteY39" fmla="*/ 2102219 h 6858000"/>
              <a:gd name="connsiteX40" fmla="*/ 1563844 w 1983504"/>
              <a:gd name="connsiteY40" fmla="*/ 2077320 h 6858000"/>
              <a:gd name="connsiteX41" fmla="*/ 1920104 w 1983504"/>
              <a:gd name="connsiteY41" fmla="*/ 2208931 h 6858000"/>
              <a:gd name="connsiteX42" fmla="*/ 766792 w 1983504"/>
              <a:gd name="connsiteY42" fmla="*/ 1892353 h 6858000"/>
              <a:gd name="connsiteX43" fmla="*/ 839252 w 1983504"/>
              <a:gd name="connsiteY43" fmla="*/ 1974165 h 6858000"/>
              <a:gd name="connsiteX44" fmla="*/ 1243816 w 1983504"/>
              <a:gd name="connsiteY44" fmla="*/ 2191146 h 6858000"/>
              <a:gd name="connsiteX45" fmla="*/ 1358543 w 1983504"/>
              <a:gd name="connsiteY45" fmla="*/ 2326314 h 6858000"/>
              <a:gd name="connsiteX46" fmla="*/ 1479310 w 1983504"/>
              <a:gd name="connsiteY46" fmla="*/ 2401012 h 6858000"/>
              <a:gd name="connsiteX47" fmla="*/ 1648381 w 1983504"/>
              <a:gd name="connsiteY47" fmla="*/ 2401012 h 6858000"/>
              <a:gd name="connsiteX48" fmla="*/ 1769146 w 1983504"/>
              <a:gd name="connsiteY48" fmla="*/ 2518395 h 6858000"/>
              <a:gd name="connsiteX49" fmla="*/ 1645361 w 1983504"/>
              <a:gd name="connsiteY49" fmla="*/ 2543294 h 6858000"/>
              <a:gd name="connsiteX50" fmla="*/ 1500444 w 1983504"/>
              <a:gd name="connsiteY50" fmla="*/ 2525509 h 6858000"/>
              <a:gd name="connsiteX51" fmla="*/ 1337410 w 1983504"/>
              <a:gd name="connsiteY51" fmla="*/ 2564636 h 6858000"/>
              <a:gd name="connsiteX52" fmla="*/ 1186452 w 1983504"/>
              <a:gd name="connsiteY52" fmla="*/ 2532623 h 6858000"/>
              <a:gd name="connsiteX53" fmla="*/ 1005304 w 1983504"/>
              <a:gd name="connsiteY53" fmla="*/ 2553965 h 6858000"/>
              <a:gd name="connsiteX54" fmla="*/ 947940 w 1983504"/>
              <a:gd name="connsiteY54" fmla="*/ 2692689 h 6858000"/>
              <a:gd name="connsiteX55" fmla="*/ 929826 w 1983504"/>
              <a:gd name="connsiteY55" fmla="*/ 2703362 h 6858000"/>
              <a:gd name="connsiteX56" fmla="*/ 594701 w 1983504"/>
              <a:gd name="connsiteY56" fmla="*/ 2923898 h 6858000"/>
              <a:gd name="connsiteX57" fmla="*/ 501108 w 1983504"/>
              <a:gd name="connsiteY57" fmla="*/ 2941684 h 6858000"/>
              <a:gd name="connsiteX58" fmla="*/ 1053610 w 1983504"/>
              <a:gd name="connsiteY58" fmla="*/ 3329402 h 6858000"/>
              <a:gd name="connsiteX59" fmla="*/ 682256 w 1983504"/>
              <a:gd name="connsiteY59" fmla="*/ 3229805 h 6858000"/>
              <a:gd name="connsiteX60" fmla="*/ 630932 w 1983504"/>
              <a:gd name="connsiteY60" fmla="*/ 3393429 h 6858000"/>
              <a:gd name="connsiteX61" fmla="*/ 806041 w 1983504"/>
              <a:gd name="connsiteY61" fmla="*/ 3539269 h 6858000"/>
              <a:gd name="connsiteX62" fmla="*/ 869444 w 1983504"/>
              <a:gd name="connsiteY62" fmla="*/ 3827390 h 6858000"/>
              <a:gd name="connsiteX63" fmla="*/ 839252 w 1983504"/>
              <a:gd name="connsiteY63" fmla="*/ 4090612 h 6858000"/>
              <a:gd name="connsiteX64" fmla="*/ 763774 w 1983504"/>
              <a:gd name="connsiteY64" fmla="*/ 4172424 h 6858000"/>
              <a:gd name="connsiteX65" fmla="*/ 655085 w 1983504"/>
              <a:gd name="connsiteY65" fmla="*/ 4321821 h 6858000"/>
              <a:gd name="connsiteX66" fmla="*/ 588662 w 1983504"/>
              <a:gd name="connsiteY66" fmla="*/ 4414305 h 6858000"/>
              <a:gd name="connsiteX67" fmla="*/ 356189 w 1983504"/>
              <a:gd name="connsiteY67" fmla="*/ 4378734 h 6858000"/>
              <a:gd name="connsiteX68" fmla="*/ 667160 w 1983504"/>
              <a:gd name="connsiteY68" fmla="*/ 4613499 h 6858000"/>
              <a:gd name="connsiteX69" fmla="*/ 416573 w 1983504"/>
              <a:gd name="connsiteY69" fmla="*/ 4585042 h 6858000"/>
              <a:gd name="connsiteX70" fmla="*/ 335056 w 1983504"/>
              <a:gd name="connsiteY70" fmla="*/ 4602828 h 6858000"/>
              <a:gd name="connsiteX71" fmla="*/ 380342 w 1983504"/>
              <a:gd name="connsiteY71" fmla="*/ 4677526 h 6858000"/>
              <a:gd name="connsiteX72" fmla="*/ 564510 w 1983504"/>
              <a:gd name="connsiteY72" fmla="*/ 4805580 h 6858000"/>
              <a:gd name="connsiteX73" fmla="*/ 944922 w 1983504"/>
              <a:gd name="connsiteY73" fmla="*/ 5154171 h 6858000"/>
              <a:gd name="connsiteX74" fmla="*/ 576586 w 1983504"/>
              <a:gd name="connsiteY74" fmla="*/ 4994104 h 6858000"/>
              <a:gd name="connsiteX75" fmla="*/ 963036 w 1983504"/>
              <a:gd name="connsiteY75" fmla="*/ 5353367 h 6858000"/>
              <a:gd name="connsiteX76" fmla="*/ 1047572 w 1983504"/>
              <a:gd name="connsiteY76" fmla="*/ 5474306 h 6858000"/>
              <a:gd name="connsiteX77" fmla="*/ 1222682 w 1983504"/>
              <a:gd name="connsiteY77" fmla="*/ 5769542 h 6858000"/>
              <a:gd name="connsiteX78" fmla="*/ 1213626 w 1983504"/>
              <a:gd name="connsiteY78" fmla="*/ 5801555 h 6858000"/>
              <a:gd name="connsiteX79" fmla="*/ 1014361 w 1983504"/>
              <a:gd name="connsiteY79" fmla="*/ 5755314 h 6858000"/>
              <a:gd name="connsiteX80" fmla="*/ 1274008 w 1983504"/>
              <a:gd name="connsiteY80" fmla="*/ 6004307 h 6858000"/>
              <a:gd name="connsiteX81" fmla="*/ 1542711 w 1983504"/>
              <a:gd name="connsiteY81" fmla="*/ 6196388 h 6858000"/>
              <a:gd name="connsiteX82" fmla="*/ 1352504 w 1983504"/>
              <a:gd name="connsiteY82" fmla="*/ 6167932 h 6858000"/>
              <a:gd name="connsiteX83" fmla="*/ 1089840 w 1983504"/>
              <a:gd name="connsiteY83" fmla="*/ 6057663 h 6858000"/>
              <a:gd name="connsiteX84" fmla="*/ 999266 w 1983504"/>
              <a:gd name="connsiteY84" fmla="*/ 6100347 h 6858000"/>
              <a:gd name="connsiteX85" fmla="*/ 1246836 w 1983504"/>
              <a:gd name="connsiteY85" fmla="*/ 6281757 h 6858000"/>
              <a:gd name="connsiteX86" fmla="*/ 1388735 w 1983504"/>
              <a:gd name="connsiteY86" fmla="*/ 6367127 h 6858000"/>
              <a:gd name="connsiteX87" fmla="*/ 1446099 w 1983504"/>
              <a:gd name="connsiteY87" fmla="*/ 6431153 h 6858000"/>
              <a:gd name="connsiteX88" fmla="*/ 1609132 w 1983504"/>
              <a:gd name="connsiteY88" fmla="*/ 6658805 h 6858000"/>
              <a:gd name="connsiteX89" fmla="*/ 1983504 w 1983504"/>
              <a:gd name="connsiteY89" fmla="*/ 6858000 h 6858000"/>
              <a:gd name="connsiteX90" fmla="*/ 0 w 1983504"/>
              <a:gd name="connsiteY9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983504" h="6858000">
                <a:moveTo>
                  <a:pt x="0" y="0"/>
                </a:moveTo>
                <a:lnTo>
                  <a:pt x="1376658" y="0"/>
                </a:lnTo>
                <a:cubicBezTo>
                  <a:pt x="1482328" y="35571"/>
                  <a:pt x="1584980" y="78255"/>
                  <a:pt x="1690650" y="110269"/>
                </a:cubicBezTo>
                <a:cubicBezTo>
                  <a:pt x="1675553" y="145839"/>
                  <a:pt x="1660458" y="138725"/>
                  <a:pt x="1645361" y="135168"/>
                </a:cubicBezTo>
                <a:cubicBezTo>
                  <a:pt x="1554788" y="120941"/>
                  <a:pt x="1461194" y="110269"/>
                  <a:pt x="1373640" y="71141"/>
                </a:cubicBezTo>
                <a:cubicBezTo>
                  <a:pt x="1352504" y="64027"/>
                  <a:pt x="1328352" y="64027"/>
                  <a:pt x="1319295" y="88927"/>
                </a:cubicBezTo>
                <a:cubicBezTo>
                  <a:pt x="1304199" y="124497"/>
                  <a:pt x="1325332" y="145839"/>
                  <a:pt x="1346468" y="163625"/>
                </a:cubicBezTo>
                <a:cubicBezTo>
                  <a:pt x="1382696" y="195638"/>
                  <a:pt x="1424964" y="188525"/>
                  <a:pt x="1464213" y="192082"/>
                </a:cubicBezTo>
                <a:cubicBezTo>
                  <a:pt x="1572902" y="209867"/>
                  <a:pt x="1624228" y="259665"/>
                  <a:pt x="1648381" y="373491"/>
                </a:cubicBezTo>
                <a:cubicBezTo>
                  <a:pt x="1554788" y="327250"/>
                  <a:pt x="1461194" y="384162"/>
                  <a:pt x="1370620" y="352148"/>
                </a:cubicBezTo>
                <a:cubicBezTo>
                  <a:pt x="1346468" y="345034"/>
                  <a:pt x="1310237" y="355706"/>
                  <a:pt x="1322314" y="394834"/>
                </a:cubicBezTo>
                <a:cubicBezTo>
                  <a:pt x="1334390" y="430405"/>
                  <a:pt x="1373640" y="458860"/>
                  <a:pt x="1304199" y="451747"/>
                </a:cubicBezTo>
                <a:cubicBezTo>
                  <a:pt x="1252873" y="448189"/>
                  <a:pt x="1237778" y="405504"/>
                  <a:pt x="1222682" y="359262"/>
                </a:cubicBezTo>
                <a:cubicBezTo>
                  <a:pt x="1210606" y="334364"/>
                  <a:pt x="1177395" y="320135"/>
                  <a:pt x="1153242" y="334364"/>
                </a:cubicBezTo>
                <a:cubicBezTo>
                  <a:pt x="1123051" y="348592"/>
                  <a:pt x="1132108" y="387720"/>
                  <a:pt x="1132108" y="416176"/>
                </a:cubicBezTo>
                <a:cubicBezTo>
                  <a:pt x="1129088" y="469532"/>
                  <a:pt x="1153242" y="494431"/>
                  <a:pt x="1195509" y="505101"/>
                </a:cubicBezTo>
                <a:cubicBezTo>
                  <a:pt x="1246836" y="519330"/>
                  <a:pt x="1298160" y="537116"/>
                  <a:pt x="1364582" y="558458"/>
                </a:cubicBezTo>
                <a:cubicBezTo>
                  <a:pt x="1292122" y="594028"/>
                  <a:pt x="1237778" y="586915"/>
                  <a:pt x="1183434" y="558458"/>
                </a:cubicBezTo>
                <a:cubicBezTo>
                  <a:pt x="1117012" y="526444"/>
                  <a:pt x="1029458" y="483759"/>
                  <a:pt x="975114" y="522887"/>
                </a:cubicBezTo>
                <a:cubicBezTo>
                  <a:pt x="893597" y="579800"/>
                  <a:pt x="827176" y="544229"/>
                  <a:pt x="754716" y="533558"/>
                </a:cubicBezTo>
                <a:cubicBezTo>
                  <a:pt x="603758" y="512216"/>
                  <a:pt x="697352" y="480203"/>
                  <a:pt x="546395" y="462417"/>
                </a:cubicBezTo>
                <a:cubicBezTo>
                  <a:pt x="486012" y="455303"/>
                  <a:pt x="422610" y="426847"/>
                  <a:pt x="335056" y="465975"/>
                </a:cubicBezTo>
                <a:cubicBezTo>
                  <a:pt x="730563" y="672284"/>
                  <a:pt x="917750" y="658055"/>
                  <a:pt x="1270988" y="910606"/>
                </a:cubicBezTo>
                <a:cubicBezTo>
                  <a:pt x="1255893" y="935506"/>
                  <a:pt x="1240798" y="924835"/>
                  <a:pt x="1225701" y="921277"/>
                </a:cubicBezTo>
                <a:cubicBezTo>
                  <a:pt x="1201548" y="917720"/>
                  <a:pt x="1171356" y="903491"/>
                  <a:pt x="1165318" y="949734"/>
                </a:cubicBezTo>
                <a:cubicBezTo>
                  <a:pt x="1162298" y="985305"/>
                  <a:pt x="1180415" y="1003089"/>
                  <a:pt x="1210606" y="1006647"/>
                </a:cubicBezTo>
                <a:cubicBezTo>
                  <a:pt x="1298160" y="1020875"/>
                  <a:pt x="1376658" y="1070674"/>
                  <a:pt x="1455156" y="1113358"/>
                </a:cubicBezTo>
                <a:cubicBezTo>
                  <a:pt x="1491385" y="1131144"/>
                  <a:pt x="1530634" y="1156043"/>
                  <a:pt x="1515538" y="1220069"/>
                </a:cubicBezTo>
                <a:cubicBezTo>
                  <a:pt x="1485348" y="1237855"/>
                  <a:pt x="1464213" y="1212955"/>
                  <a:pt x="1440060" y="1209399"/>
                </a:cubicBezTo>
                <a:cubicBezTo>
                  <a:pt x="1415907" y="1205842"/>
                  <a:pt x="1358543" y="1220069"/>
                  <a:pt x="1373640" y="1230741"/>
                </a:cubicBezTo>
                <a:cubicBezTo>
                  <a:pt x="1443080" y="1269868"/>
                  <a:pt x="1316276" y="1365909"/>
                  <a:pt x="1400810" y="1365909"/>
                </a:cubicBezTo>
                <a:cubicBezTo>
                  <a:pt x="1539691" y="1365909"/>
                  <a:pt x="1615170" y="1536647"/>
                  <a:pt x="1748012" y="1540204"/>
                </a:cubicBezTo>
                <a:cubicBezTo>
                  <a:pt x="1769146" y="1540204"/>
                  <a:pt x="1778203" y="1572219"/>
                  <a:pt x="1778203" y="1597117"/>
                </a:cubicBezTo>
                <a:cubicBezTo>
                  <a:pt x="1778203" y="1629132"/>
                  <a:pt x="1757070" y="1632688"/>
                  <a:pt x="1735936" y="1636245"/>
                </a:cubicBezTo>
                <a:cubicBezTo>
                  <a:pt x="1702725" y="1639802"/>
                  <a:pt x="1666496" y="1597117"/>
                  <a:pt x="1624228" y="1657587"/>
                </a:cubicBezTo>
                <a:cubicBezTo>
                  <a:pt x="1702725" y="1693158"/>
                  <a:pt x="1784242" y="1728729"/>
                  <a:pt x="1781223" y="1849668"/>
                </a:cubicBezTo>
                <a:cubicBezTo>
                  <a:pt x="1781223" y="1881683"/>
                  <a:pt x="1814434" y="1895910"/>
                  <a:pt x="1838587" y="1903025"/>
                </a:cubicBezTo>
                <a:cubicBezTo>
                  <a:pt x="1880854" y="1917252"/>
                  <a:pt x="1914065" y="1938595"/>
                  <a:pt x="1938218" y="1984836"/>
                </a:cubicBezTo>
                <a:cubicBezTo>
                  <a:pt x="1938218" y="1995507"/>
                  <a:pt x="1938218" y="2002622"/>
                  <a:pt x="1938218" y="2013292"/>
                </a:cubicBezTo>
                <a:cubicBezTo>
                  <a:pt x="1932180" y="2123562"/>
                  <a:pt x="1871798" y="2120004"/>
                  <a:pt x="1805376" y="2102219"/>
                </a:cubicBezTo>
                <a:cubicBezTo>
                  <a:pt x="1726878" y="2080877"/>
                  <a:pt x="1648381" y="2038192"/>
                  <a:pt x="1563844" y="2077320"/>
                </a:cubicBezTo>
                <a:cubicBezTo>
                  <a:pt x="1681592" y="2130676"/>
                  <a:pt x="1811414" y="2134233"/>
                  <a:pt x="1920104" y="2208931"/>
                </a:cubicBezTo>
                <a:cubicBezTo>
                  <a:pt x="1515538" y="2223159"/>
                  <a:pt x="1159280" y="1984836"/>
                  <a:pt x="766792" y="1892353"/>
                </a:cubicBezTo>
                <a:cubicBezTo>
                  <a:pt x="778869" y="1952823"/>
                  <a:pt x="812080" y="1967051"/>
                  <a:pt x="839252" y="1974165"/>
                </a:cubicBezTo>
                <a:cubicBezTo>
                  <a:pt x="984170" y="2020407"/>
                  <a:pt x="1110974" y="2112891"/>
                  <a:pt x="1243816" y="2191146"/>
                </a:cubicBezTo>
                <a:cubicBezTo>
                  <a:pt x="1298160" y="2223159"/>
                  <a:pt x="1337410" y="2258731"/>
                  <a:pt x="1358543" y="2326314"/>
                </a:cubicBezTo>
                <a:cubicBezTo>
                  <a:pt x="1376658" y="2390340"/>
                  <a:pt x="1412888" y="2418796"/>
                  <a:pt x="1479310" y="2401012"/>
                </a:cubicBezTo>
                <a:cubicBezTo>
                  <a:pt x="1533654" y="2386784"/>
                  <a:pt x="1591018" y="2393898"/>
                  <a:pt x="1648381" y="2401012"/>
                </a:cubicBezTo>
                <a:cubicBezTo>
                  <a:pt x="1711782" y="2408126"/>
                  <a:pt x="1784242" y="2479267"/>
                  <a:pt x="1769146" y="2518395"/>
                </a:cubicBezTo>
                <a:cubicBezTo>
                  <a:pt x="1738956" y="2582422"/>
                  <a:pt x="1687630" y="2550408"/>
                  <a:pt x="1645361" y="2543294"/>
                </a:cubicBezTo>
                <a:cubicBezTo>
                  <a:pt x="1594036" y="2536181"/>
                  <a:pt x="1500444" y="2518395"/>
                  <a:pt x="1500444" y="2525509"/>
                </a:cubicBezTo>
                <a:cubicBezTo>
                  <a:pt x="1467232" y="2685576"/>
                  <a:pt x="1391754" y="2564636"/>
                  <a:pt x="1337410" y="2564636"/>
                </a:cubicBezTo>
                <a:cubicBezTo>
                  <a:pt x="1286084" y="2564636"/>
                  <a:pt x="1234759" y="2546851"/>
                  <a:pt x="1186452" y="2532623"/>
                </a:cubicBezTo>
                <a:cubicBezTo>
                  <a:pt x="1123051" y="2514837"/>
                  <a:pt x="1065688" y="2546851"/>
                  <a:pt x="1005304" y="2553965"/>
                </a:cubicBezTo>
                <a:cubicBezTo>
                  <a:pt x="950960" y="2561080"/>
                  <a:pt x="981150" y="2653563"/>
                  <a:pt x="947940" y="2692689"/>
                </a:cubicBezTo>
                <a:cubicBezTo>
                  <a:pt x="941903" y="2703362"/>
                  <a:pt x="935864" y="2703362"/>
                  <a:pt x="929826" y="2703362"/>
                </a:cubicBezTo>
                <a:cubicBezTo>
                  <a:pt x="911711" y="2980812"/>
                  <a:pt x="594701" y="2913227"/>
                  <a:pt x="594701" y="2923898"/>
                </a:cubicBezTo>
                <a:cubicBezTo>
                  <a:pt x="567529" y="2941684"/>
                  <a:pt x="534318" y="2899000"/>
                  <a:pt x="501108" y="2941684"/>
                </a:cubicBezTo>
                <a:cubicBezTo>
                  <a:pt x="643007" y="3137322"/>
                  <a:pt x="860386" y="3183563"/>
                  <a:pt x="1053610" y="3329402"/>
                </a:cubicBezTo>
                <a:cubicBezTo>
                  <a:pt x="893597" y="3379202"/>
                  <a:pt x="800002" y="3208463"/>
                  <a:pt x="682256" y="3229805"/>
                </a:cubicBezTo>
                <a:cubicBezTo>
                  <a:pt x="624893" y="3283162"/>
                  <a:pt x="796984" y="3368530"/>
                  <a:pt x="630932" y="3393429"/>
                </a:cubicBezTo>
                <a:cubicBezTo>
                  <a:pt x="703390" y="3439672"/>
                  <a:pt x="754716" y="3485914"/>
                  <a:pt x="806041" y="3539269"/>
                </a:cubicBezTo>
                <a:cubicBezTo>
                  <a:pt x="893597" y="3635309"/>
                  <a:pt x="911711" y="3699337"/>
                  <a:pt x="869444" y="3827390"/>
                </a:cubicBezTo>
                <a:cubicBezTo>
                  <a:pt x="842270" y="3912759"/>
                  <a:pt x="803022" y="3991015"/>
                  <a:pt x="839252" y="4090612"/>
                </a:cubicBezTo>
                <a:cubicBezTo>
                  <a:pt x="863405" y="4158196"/>
                  <a:pt x="854347" y="4204438"/>
                  <a:pt x="763774" y="4172424"/>
                </a:cubicBezTo>
                <a:cubicBezTo>
                  <a:pt x="667160" y="4140411"/>
                  <a:pt x="630932" y="4200882"/>
                  <a:pt x="655085" y="4321821"/>
                </a:cubicBezTo>
                <a:cubicBezTo>
                  <a:pt x="670179" y="4400076"/>
                  <a:pt x="655085" y="4424975"/>
                  <a:pt x="588662" y="4414305"/>
                </a:cubicBezTo>
                <a:cubicBezTo>
                  <a:pt x="516204" y="4403633"/>
                  <a:pt x="446764" y="4353835"/>
                  <a:pt x="356189" y="4378734"/>
                </a:cubicBezTo>
                <a:cubicBezTo>
                  <a:pt x="428648" y="4521016"/>
                  <a:pt x="582626" y="4478331"/>
                  <a:pt x="667160" y="4613499"/>
                </a:cubicBezTo>
                <a:cubicBezTo>
                  <a:pt x="567529" y="4613499"/>
                  <a:pt x="489031" y="4613499"/>
                  <a:pt x="416573" y="4585042"/>
                </a:cubicBezTo>
                <a:cubicBezTo>
                  <a:pt x="386381" y="4574373"/>
                  <a:pt x="353170" y="4560144"/>
                  <a:pt x="335056" y="4602828"/>
                </a:cubicBezTo>
                <a:cubicBezTo>
                  <a:pt x="313920" y="4652628"/>
                  <a:pt x="356189" y="4670412"/>
                  <a:pt x="380342" y="4677526"/>
                </a:cubicBezTo>
                <a:cubicBezTo>
                  <a:pt x="449784" y="4702425"/>
                  <a:pt x="504126" y="4759339"/>
                  <a:pt x="564510" y="4805580"/>
                </a:cubicBezTo>
                <a:cubicBezTo>
                  <a:pt x="694332" y="4905177"/>
                  <a:pt x="836233" y="4990547"/>
                  <a:pt x="944922" y="5154171"/>
                </a:cubicBezTo>
                <a:cubicBezTo>
                  <a:pt x="809060" y="5111487"/>
                  <a:pt x="706410" y="5011889"/>
                  <a:pt x="576586" y="4994104"/>
                </a:cubicBezTo>
                <a:cubicBezTo>
                  <a:pt x="688296" y="5143500"/>
                  <a:pt x="830194" y="5243097"/>
                  <a:pt x="963036" y="5353367"/>
                </a:cubicBezTo>
                <a:cubicBezTo>
                  <a:pt x="1002286" y="5385379"/>
                  <a:pt x="1041534" y="5406721"/>
                  <a:pt x="1047572" y="5474306"/>
                </a:cubicBezTo>
                <a:cubicBezTo>
                  <a:pt x="1065688" y="5605917"/>
                  <a:pt x="1113992" y="5712629"/>
                  <a:pt x="1222682" y="5769542"/>
                </a:cubicBezTo>
                <a:cubicBezTo>
                  <a:pt x="1222682" y="5769542"/>
                  <a:pt x="1216644" y="5790884"/>
                  <a:pt x="1213626" y="5801555"/>
                </a:cubicBezTo>
                <a:cubicBezTo>
                  <a:pt x="1147203" y="5805112"/>
                  <a:pt x="1095878" y="5726858"/>
                  <a:pt x="1014361" y="5755314"/>
                </a:cubicBezTo>
                <a:cubicBezTo>
                  <a:pt x="1095878" y="5862025"/>
                  <a:pt x="1162298" y="5954508"/>
                  <a:pt x="1274008" y="6004307"/>
                </a:cubicBezTo>
                <a:cubicBezTo>
                  <a:pt x="1364582" y="6043434"/>
                  <a:pt x="1476290" y="6068335"/>
                  <a:pt x="1542711" y="6196388"/>
                </a:cubicBezTo>
                <a:cubicBezTo>
                  <a:pt x="1467232" y="6221287"/>
                  <a:pt x="1409868" y="6189274"/>
                  <a:pt x="1352504" y="6167932"/>
                </a:cubicBezTo>
                <a:cubicBezTo>
                  <a:pt x="1264950" y="6132361"/>
                  <a:pt x="1177395" y="6093234"/>
                  <a:pt x="1089840" y="6057663"/>
                </a:cubicBezTo>
                <a:cubicBezTo>
                  <a:pt x="1056628" y="6043434"/>
                  <a:pt x="1020400" y="6036320"/>
                  <a:pt x="999266" y="6100347"/>
                </a:cubicBezTo>
                <a:cubicBezTo>
                  <a:pt x="1110974" y="6114575"/>
                  <a:pt x="1177395" y="6199945"/>
                  <a:pt x="1246836" y="6281757"/>
                </a:cubicBezTo>
                <a:cubicBezTo>
                  <a:pt x="1286084" y="6327999"/>
                  <a:pt x="1319295" y="6388469"/>
                  <a:pt x="1388735" y="6367127"/>
                </a:cubicBezTo>
                <a:cubicBezTo>
                  <a:pt x="1424964" y="6356456"/>
                  <a:pt x="1449118" y="6388469"/>
                  <a:pt x="1446099" y="6431153"/>
                </a:cubicBezTo>
                <a:cubicBezTo>
                  <a:pt x="1431002" y="6580550"/>
                  <a:pt x="1518558" y="6630349"/>
                  <a:pt x="1609132" y="6658805"/>
                </a:cubicBezTo>
                <a:cubicBezTo>
                  <a:pt x="1741974" y="6701489"/>
                  <a:pt x="1859720" y="6786859"/>
                  <a:pt x="1983504" y="6858000"/>
                </a:cubicBezTo>
                <a:lnTo>
                  <a:pt x="0" y="6858000"/>
                </a:lnTo>
                <a:close/>
              </a:path>
            </a:pathLst>
          </a:custGeom>
          <a:solidFill>
            <a:schemeClr val="bg2">
              <a:alpha val="50000"/>
            </a:schemeClr>
          </a:solidFill>
          <a:ln w="32707" cap="flat">
            <a:noFill/>
            <a:prstDash val="solid"/>
            <a:miter/>
          </a:ln>
        </p:spPr>
        <p:txBody>
          <a:bodyPr wrap="square" rtlCol="0" anchor="ctr">
            <a:noAutofit/>
          </a:bodyPr>
          <a:lstStyle/>
          <a:p>
            <a:pPr algn="ctr"/>
            <a:endParaRPr lang="en-US"/>
          </a:p>
        </p:txBody>
      </p:sp>
      <p:sp>
        <p:nvSpPr>
          <p:cNvPr id="5" name="Rectangle: Rounded Corners 4">
            <a:extLst>
              <a:ext uri="{FF2B5EF4-FFF2-40B4-BE49-F238E27FC236}">
                <a16:creationId xmlns:a16="http://schemas.microsoft.com/office/drawing/2014/main" id="{93757701-202B-4FEA-BE40-19C335D72F58}"/>
              </a:ext>
            </a:extLst>
          </p:cNvPr>
          <p:cNvSpPr/>
          <p:nvPr/>
        </p:nvSpPr>
        <p:spPr>
          <a:xfrm>
            <a:off x="1983504" y="643468"/>
            <a:ext cx="9104643" cy="1974874"/>
          </a:xfrm>
          <a:prstGeom prst="roundRect">
            <a:avLst>
              <a:gd name="adj" fmla="val 6757"/>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0" lvl="1" algn="ctr" defTabSz="841248">
              <a:spcAft>
                <a:spcPts val="1104"/>
              </a:spcAft>
            </a:pPr>
            <a:r>
              <a:rPr lang="en-US" sz="2576" kern="1200" dirty="0">
                <a:solidFill>
                  <a:schemeClr val="accent1"/>
                </a:solidFill>
                <a:latin typeface="Arial" panose="020B0604020202020204" pitchFamily="34" charset="0"/>
                <a:ea typeface="+mn-ea"/>
                <a:cs typeface="Arial" panose="020B0604020202020204" pitchFamily="34" charset="0"/>
              </a:rPr>
              <a:t>Research Question</a:t>
            </a:r>
            <a:endParaRPr lang="en-GB" sz="1472" kern="1200" dirty="0">
              <a:solidFill>
                <a:srgbClr val="000000"/>
              </a:solidFill>
              <a:latin typeface="Arial" panose="020B0604020202020204" pitchFamily="34" charset="0"/>
              <a:ea typeface="+mn-ea"/>
              <a:cs typeface="Arial" panose="020B0604020202020204" pitchFamily="34" charset="0"/>
            </a:endParaRPr>
          </a:p>
          <a:p>
            <a:pPr marL="0" lvl="1" algn="just" defTabSz="841248">
              <a:lnSpc>
                <a:spcPct val="150000"/>
              </a:lnSpc>
              <a:spcAft>
                <a:spcPts val="1104"/>
              </a:spcAft>
            </a:pPr>
            <a:r>
              <a:rPr lang="en-US" sz="1656" kern="1200" dirty="0">
                <a:solidFill>
                  <a:srgbClr val="000000"/>
                </a:solidFill>
                <a:latin typeface="Arial" panose="020B0604020202020204" pitchFamily="34" charset="0"/>
                <a:ea typeface="+mn-ea"/>
                <a:cs typeface="Arial" panose="020B0604020202020204" pitchFamily="34" charset="0"/>
              </a:rPr>
              <a:t>Despite the implementation of the government's comprehensive National Clean Air Program (NCAP) for five years, why has Delhi remained a non-attainment city, failing to achieve the dedicated targets set by the program to reduce air pollution?</a:t>
            </a:r>
            <a:endParaRPr lang="en-US" sz="3200" dirty="0">
              <a:solidFill>
                <a:schemeClr val="accent1"/>
              </a:solidFill>
              <a:latin typeface="Arial" panose="020B0604020202020204" pitchFamily="34" charset="0"/>
              <a:ea typeface="Calibri" panose="020F050202020403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AAF1F38B-9B4E-4B15-8413-00339C1F26AF}"/>
              </a:ext>
            </a:extLst>
          </p:cNvPr>
          <p:cNvSpPr/>
          <p:nvPr/>
        </p:nvSpPr>
        <p:spPr>
          <a:xfrm>
            <a:off x="1983504" y="2901190"/>
            <a:ext cx="9104643" cy="3313344"/>
          </a:xfrm>
          <a:prstGeom prst="roundRect">
            <a:avLst>
              <a:gd name="adj" fmla="val 6757"/>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0" lvl="1" algn="ctr" defTabSz="841248">
              <a:spcAft>
                <a:spcPts val="600"/>
              </a:spcAft>
            </a:pPr>
            <a:r>
              <a:rPr lang="en-US" sz="2576" kern="1200" dirty="0">
                <a:solidFill>
                  <a:schemeClr val="accent5"/>
                </a:solidFill>
                <a:latin typeface="Arial" panose="020B0604020202020204" pitchFamily="34" charset="0"/>
                <a:ea typeface="+mn-ea"/>
                <a:cs typeface="Arial" panose="020B0604020202020204" pitchFamily="34" charset="0"/>
              </a:rPr>
              <a:t>Objectives</a:t>
            </a:r>
          </a:p>
          <a:p>
            <a:pPr marL="473202" lvl="1" indent="-473202" algn="just" defTabSz="841248">
              <a:lnSpc>
                <a:spcPct val="150000"/>
              </a:lnSpc>
              <a:spcAft>
                <a:spcPts val="600"/>
              </a:spcAft>
              <a:buFont typeface="+mj-lt"/>
              <a:buAutoNum type="arabicPeriod"/>
            </a:pPr>
            <a:r>
              <a:rPr lang="en-US" sz="1656" kern="1200" dirty="0">
                <a:solidFill>
                  <a:schemeClr val="tx1"/>
                </a:solidFill>
                <a:latin typeface="Arial" panose="020B0604020202020204" pitchFamily="34" charset="0"/>
                <a:ea typeface="+mn-ea"/>
                <a:cs typeface="Arial" panose="020B0604020202020204" pitchFamily="34" charset="0"/>
              </a:rPr>
              <a:t>To shed light on the government's comprehensive National Clean Air Program (NCAP)</a:t>
            </a:r>
          </a:p>
          <a:p>
            <a:pPr marL="473202" lvl="1" indent="-473202" algn="just" defTabSz="841248">
              <a:lnSpc>
                <a:spcPct val="150000"/>
              </a:lnSpc>
              <a:spcAft>
                <a:spcPts val="600"/>
              </a:spcAft>
              <a:buFont typeface="+mj-lt"/>
              <a:buAutoNum type="arabicPeriod"/>
            </a:pPr>
            <a:r>
              <a:rPr lang="en-US" sz="1656" kern="1200" dirty="0">
                <a:solidFill>
                  <a:schemeClr val="tx1"/>
                </a:solidFill>
                <a:latin typeface="Arial" panose="020B0604020202020204" pitchFamily="34" charset="0"/>
                <a:ea typeface="+mn-ea"/>
                <a:cs typeface="Arial" panose="020B0604020202020204" pitchFamily="34" charset="0"/>
              </a:rPr>
              <a:t>To identify key factors hindering Delhi's achievement of the National Clean Air Programme (NCAP) set targets.</a:t>
            </a:r>
          </a:p>
          <a:p>
            <a:pPr marL="473202" lvl="1" indent="-473202" algn="just" defTabSz="841248">
              <a:lnSpc>
                <a:spcPct val="150000"/>
              </a:lnSpc>
              <a:spcAft>
                <a:spcPts val="600"/>
              </a:spcAft>
              <a:buFont typeface="+mj-lt"/>
              <a:buAutoNum type="arabicPeriod"/>
            </a:pPr>
            <a:r>
              <a:rPr lang="en-US" sz="1656" kern="1200" dirty="0">
                <a:solidFill>
                  <a:schemeClr val="tx1"/>
                </a:solidFill>
                <a:latin typeface="Arial" panose="020B0604020202020204" pitchFamily="34" charset="0"/>
                <a:ea typeface="+mn-ea"/>
                <a:cs typeface="Arial" panose="020B0604020202020204" pitchFamily="34" charset="0"/>
              </a:rPr>
              <a:t>To provide some evidence-based actionable recommendations that can be implemented in Delhi to combat air pollution and achieve set targets.</a:t>
            </a:r>
            <a:endParaRPr lang="en-US" dirty="0">
              <a:solidFill>
                <a:schemeClr val="tx1"/>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90378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304</TotalTime>
  <Words>4647</Words>
  <Application>Microsoft Office PowerPoint</Application>
  <PresentationFormat>Widescreen</PresentationFormat>
  <Paragraphs>308</Paragraphs>
  <Slides>31</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Aptos</vt:lpstr>
      <vt:lpstr>Aptos Display</vt:lpstr>
      <vt:lpstr>Arial</vt:lpstr>
      <vt:lpstr>Calibri</vt:lpstr>
      <vt:lpstr>Wingdings</vt:lpstr>
      <vt:lpstr>Office Theme</vt:lpstr>
      <vt:lpstr>think-cell Slide</vt:lpstr>
      <vt:lpstr>PowerPoint Presentation</vt:lpstr>
      <vt:lpstr>Mentor’s approval </vt:lpstr>
      <vt:lpstr>Introduction</vt:lpstr>
      <vt:lpstr>PowerPoint Presentation</vt:lpstr>
      <vt:lpstr>PowerPoint Presentation</vt:lpstr>
      <vt:lpstr>PowerPoint Presentation</vt:lpstr>
      <vt:lpstr>Government initiatives</vt:lpstr>
      <vt:lpstr>PowerPoint Presentation</vt:lpstr>
      <vt:lpstr>PowerPoint Presentation</vt:lpstr>
      <vt:lpstr>Methodology </vt:lpstr>
      <vt:lpstr>PowerPoint Presentation</vt:lpstr>
      <vt:lpstr> Launched in 2019 by MoEFCC, aiming to improve air quality of cities , states and UTs’</vt:lpstr>
      <vt:lpstr>PowerPoint Presentation</vt:lpstr>
      <vt:lpstr>Action plan</vt:lpstr>
      <vt:lpstr>PowerPoint Presentation</vt:lpstr>
      <vt:lpstr>PowerPoint Presentation</vt:lpstr>
      <vt:lpstr>Factors causing hinderance in achieving targets </vt:lpstr>
      <vt:lpstr>PowerPoint Presentation</vt:lpstr>
      <vt:lpstr>PowerPoint Presentation</vt:lpstr>
      <vt:lpstr>Case Study – Beijing’s war against pollution</vt:lpstr>
      <vt:lpstr>Case study – Seoul has lifted its smog</vt:lpstr>
      <vt:lpstr> Discussion</vt:lpstr>
      <vt:lpstr>Recommendations</vt:lpstr>
      <vt:lpstr>PowerPoint Presentation</vt:lpstr>
      <vt:lpstr>PowerPoint Presentation</vt:lpstr>
      <vt:lpstr>Conclusion </vt:lpstr>
      <vt:lpstr>PowerPoint Presentation</vt:lpstr>
      <vt:lpstr>References</vt:lpstr>
      <vt:lpstr>References</vt:lpstr>
      <vt:lpstr>Referen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hreya Srivastava</dc:creator>
  <cp:lastModifiedBy>Shreya Srivastava</cp:lastModifiedBy>
  <cp:revision>1</cp:revision>
  <dcterms:created xsi:type="dcterms:W3CDTF">2024-06-18T09:58:36Z</dcterms:created>
  <dcterms:modified xsi:type="dcterms:W3CDTF">2024-07-21T14:34:31Z</dcterms:modified>
</cp:coreProperties>
</file>